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</p:sldMasterIdLst>
  <p:notesMasterIdLst>
    <p:notesMasterId r:id="rId20"/>
  </p:notesMasterIdLst>
  <p:handoutMasterIdLst>
    <p:handoutMasterId r:id="rId21"/>
  </p:handoutMasterIdLst>
  <p:sldIdLst>
    <p:sldId id="398" r:id="rId6"/>
    <p:sldId id="400" r:id="rId7"/>
    <p:sldId id="401" r:id="rId8"/>
    <p:sldId id="402" r:id="rId9"/>
    <p:sldId id="403" r:id="rId10"/>
    <p:sldId id="404" r:id="rId11"/>
    <p:sldId id="408" r:id="rId12"/>
    <p:sldId id="405" r:id="rId13"/>
    <p:sldId id="406" r:id="rId14"/>
    <p:sldId id="409" r:id="rId15"/>
    <p:sldId id="412" r:id="rId16"/>
    <p:sldId id="410" r:id="rId17"/>
    <p:sldId id="411" r:id="rId18"/>
    <p:sldId id="397" r:id="rId19"/>
  </p:sldIdLst>
  <p:sldSz cx="9144000" cy="5143500" type="screen16x9"/>
  <p:notesSz cx="6858000" cy="9144000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ouze, Juul" initials="DJ" lastIdx="18" clrIdx="0">
    <p:extLst>
      <p:ext uri="{19B8F6BF-5375-455C-9EA6-DF929625EA0E}">
        <p15:presenceInfo xmlns:p15="http://schemas.microsoft.com/office/powerpoint/2012/main" userId="S-1-5-21-2052111302-790525478-839522115-897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345BA"/>
    <a:srgbClr val="D10077"/>
    <a:srgbClr val="DE7C00"/>
    <a:srgbClr val="15973A"/>
    <a:srgbClr val="269A91"/>
    <a:srgbClr val="9AD7F9"/>
    <a:srgbClr val="00A8EB"/>
    <a:srgbClr val="0077CC"/>
    <a:srgbClr val="00629F"/>
    <a:srgbClr val="0032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16" autoAdjust="0"/>
    <p:restoredTop sz="96340" autoAdjust="0"/>
  </p:normalViewPr>
  <p:slideViewPr>
    <p:cSldViewPr>
      <p:cViewPr varScale="1">
        <p:scale>
          <a:sx n="156" d="100"/>
          <a:sy n="156" d="100"/>
        </p:scale>
        <p:origin x="156" y="13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25" d="100"/>
        <a:sy n="125" d="100"/>
      </p:scale>
      <p:origin x="0" y="0"/>
    </p:cViewPr>
  </p:sorterViewPr>
  <p:notesViewPr>
    <p:cSldViewPr>
      <p:cViewPr varScale="1">
        <p:scale>
          <a:sx n="94" d="100"/>
          <a:sy n="94" d="100"/>
        </p:scale>
        <p:origin x="3752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6D88A55-27A1-4726-B6BA-565570B037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>
              <a:latin typeface="Calibri Light" panose="020F030202020403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F60674-C439-4C47-991B-97891DFF182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8B6A92-9AC4-4241-A12D-3E444424FB26}" type="datetimeFigureOut">
              <a:rPr lang="en-IN" smtClean="0">
                <a:latin typeface="Calibri Light" panose="020F0302020204030204" pitchFamily="34" charset="0"/>
              </a:rPr>
              <a:t>19-05-2021</a:t>
            </a:fld>
            <a:endParaRPr lang="en-IN" dirty="0">
              <a:latin typeface="Calibri Light" panose="020F03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188F0D-C29C-4E6C-958B-8709D00BDD5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>
              <a:latin typeface="Calibri Light" panose="020F030202020403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F97745-075A-4829-97D2-C764BFC9ED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3909FF-10D1-4B66-B741-D72AB76F569D}" type="slidenum">
              <a:rPr lang="en-IN" smtClean="0">
                <a:latin typeface="Calibri Light" panose="020F0302020204030204" pitchFamily="34" charset="0"/>
              </a:rPr>
              <a:t>‹#›</a:t>
            </a:fld>
            <a:endParaRPr lang="en-IN" dirty="0"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13822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Calibri Light" panose="020F03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Calibri Light" panose="020F0302020204030204" pitchFamily="34" charset="0"/>
              </a:defRPr>
            </a:lvl1pPr>
          </a:lstStyle>
          <a:p>
            <a:fld id="{D710CCDE-DDDC-4977-B090-4BB893DA5E37}" type="datetimeFigureOut">
              <a:rPr lang="en-US" smtClean="0"/>
              <a:pPr/>
              <a:t>5/19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Calibri Light" panose="020F03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Calibri Light" panose="020F0302020204030204" pitchFamily="34" charset="0"/>
              </a:defRPr>
            </a:lvl1pPr>
          </a:lstStyle>
          <a:p>
            <a:fld id="{73309035-2A4D-4DEF-8CB7-76293891436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7139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1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7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3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7.emf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7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7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7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7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3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7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7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7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7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7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3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19.bin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7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7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7.emf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7.emf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7.emf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3.emf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3.bin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7.emf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7.emf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7.emf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7.emf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7.emf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3.emf"/><Relationship Id="rId2" Type="http://schemas.openxmlformats.org/officeDocument/2006/relationships/tags" Target="../tags/tag66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28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image" Target="../media/image7.emf"/><Relationship Id="rId2" Type="http://schemas.openxmlformats.org/officeDocument/2006/relationships/tags" Target="../tags/tag6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7.emf"/><Relationship Id="rId2" Type="http://schemas.openxmlformats.org/officeDocument/2006/relationships/tags" Target="../tags/tag7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7.emf"/><Relationship Id="rId2" Type="http://schemas.openxmlformats.org/officeDocument/2006/relationships/tags" Target="../tags/tag7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7.emf"/><Relationship Id="rId2" Type="http://schemas.openxmlformats.org/officeDocument/2006/relationships/tags" Target="../tags/tag7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7.emf"/><Relationship Id="rId2" Type="http://schemas.openxmlformats.org/officeDocument/2006/relationships/tags" Target="../tags/tag76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3.emf"/><Relationship Id="rId2" Type="http://schemas.openxmlformats.org/officeDocument/2006/relationships/tags" Target="../tags/tag78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3.bin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7.emf"/><Relationship Id="rId2" Type="http://schemas.openxmlformats.org/officeDocument/2006/relationships/tags" Target="../tags/tag8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7.emf"/><Relationship Id="rId2" Type="http://schemas.openxmlformats.org/officeDocument/2006/relationships/tags" Target="../tags/tag8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7.emf"/><Relationship Id="rId2" Type="http://schemas.openxmlformats.org/officeDocument/2006/relationships/tags" Target="../tags/tag8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7.emf"/><Relationship Id="rId2" Type="http://schemas.openxmlformats.org/officeDocument/2006/relationships/tags" Target="../tags/tag86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7.emf"/><Relationship Id="rId2" Type="http://schemas.openxmlformats.org/officeDocument/2006/relationships/tags" Target="../tags/tag88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3.emf"/><Relationship Id="rId2" Type="http://schemas.openxmlformats.org/officeDocument/2006/relationships/tags" Target="../tags/tag90.xml"/><Relationship Id="rId1" Type="http://schemas.openxmlformats.org/officeDocument/2006/relationships/vmlDrawing" Target="../drawings/vmlDrawing45.vml"/><Relationship Id="rId6" Type="http://schemas.openxmlformats.org/officeDocument/2006/relationships/oleObject" Target="../embeddings/oleObject3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image" Target="../media/image3.emf"/><Relationship Id="rId2" Type="http://schemas.openxmlformats.org/officeDocument/2006/relationships/tags" Target="../tags/tag93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3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image" Target="../media/image3.emf"/><Relationship Id="rId2" Type="http://schemas.openxmlformats.org/officeDocument/2006/relationships/tags" Target="../tags/tag96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4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8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3.emf"/><Relationship Id="rId2" Type="http://schemas.openxmlformats.org/officeDocument/2006/relationships/tags" Target="../tags/tag99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4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3.emf"/><Relationship Id="rId2" Type="http://schemas.openxmlformats.org/officeDocument/2006/relationships/tags" Target="../tags/tag102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4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image" Target="../media/image3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50.vml"/><Relationship Id="rId6" Type="http://schemas.openxmlformats.org/officeDocument/2006/relationships/oleObject" Target="../embeddings/oleObject4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7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13.emf"/><Relationship Id="rId2" Type="http://schemas.openxmlformats.org/officeDocument/2006/relationships/tags" Target="../tags/tag108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blue">
    <p:bg>
      <p:bgPr>
        <a:gradFill>
          <a:gsLst>
            <a:gs pos="66000">
              <a:srgbClr val="005595"/>
            </a:gs>
            <a:gs pos="19000">
              <a:srgbClr val="00325D"/>
            </a:gs>
            <a:gs pos="100000">
              <a:schemeClr val="accent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70A3CAD-6999-8848-92A5-B02A4C5F2FE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41915F4-B8A1-F747-84F8-C0A9E23EAB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AF1B9CF-7070-3E45-A8F8-B49FDF1700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1F86775-9BAC-8C4A-B0F3-6CCEF30561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974426A-8BB2-2343-9F2B-54B7DD183B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082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236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overlay left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254870" y="0"/>
            <a:ext cx="5889129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insert photo </a:t>
            </a:r>
            <a:r>
              <a:rPr lang="en-GB" b="0" i="0" dirty="0">
                <a:solidFill>
                  <a:srgbClr val="1A1A1A"/>
                </a:solidFill>
                <a:effectLst/>
                <a:latin typeface="OpenSans"/>
              </a:rPr>
              <a:t>966 x 843 px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9496" y="4719600"/>
            <a:ext cx="1064563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74F6BD1-05E3-0748-8229-5BFCF37D213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8C7E7A55-842A-944F-B105-E98E505B498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78000"/>
            <a:ext cx="2627313" cy="4320000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rgbClr val="00629F"/>
              </a:buClr>
              <a:buNone/>
              <a:tabLst/>
              <a:defRPr sz="2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rgbClr val="00629F"/>
              </a:buClr>
              <a:buNone/>
              <a:tabLst/>
              <a:defRPr sz="24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rgbClr val="00629F"/>
              </a:buClr>
              <a:buNone/>
              <a:tabLst/>
              <a:defRPr sz="1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rgbClr val="00629F"/>
              </a:buClr>
              <a:buNone/>
              <a:tabLst/>
              <a:defRPr sz="1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5232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lef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 anchorCtr="0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FB4E9C5-372D-B54F-AB35-3198E76F9B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A6F08260-F124-AB45-A656-0CF6C91D54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09600"/>
            <a:ext cx="2627313" cy="3484800"/>
          </a:xfrm>
          <a:solidFill>
            <a:srgbClr val="00629F"/>
          </a:solidFill>
        </p:spPr>
        <p:txBody>
          <a:bodyPr lIns="10800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chemeClr val="bg1"/>
              </a:buClr>
              <a:buNone/>
              <a:tabLst/>
              <a:defRPr sz="2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chemeClr val="bg1"/>
              </a:buClr>
              <a:tabLst/>
              <a:defRPr sz="24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chemeClr val="bg1"/>
              </a:buClr>
              <a:tabLst/>
              <a:defRPr sz="1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chemeClr val="bg1"/>
              </a:buClr>
              <a:tabLst/>
              <a:defRPr sz="1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9162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 anchorCtr="0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81D39-1145-FA4E-B683-513036C3479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E8E77E7-B238-0A4C-BBF8-DDD421A9C0A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09600"/>
            <a:ext cx="2627313" cy="3484800"/>
          </a:xfrm>
          <a:solidFill>
            <a:schemeClr val="bg1"/>
          </a:solidFill>
        </p:spPr>
        <p:txBody>
          <a:bodyPr lIns="10800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rgbClr val="00629F"/>
              </a:buClr>
              <a:buNone/>
              <a:tabLst/>
              <a:defRPr sz="2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rgbClr val="00629F"/>
              </a:buClr>
              <a:tabLst/>
              <a:defRPr sz="24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rgbClr val="00629F"/>
              </a:buClr>
              <a:tabLst/>
              <a:defRPr sz="1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rgbClr val="00629F"/>
              </a:buClr>
              <a:tabLst/>
              <a:defRPr sz="1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8751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righ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CEDFCF-642D-F141-9A43-DB7CB01B36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922B8767-9500-8248-B35C-32B6CDB014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08400" y="1209600"/>
            <a:ext cx="2627313" cy="3484800"/>
          </a:xfrm>
          <a:solidFill>
            <a:srgbClr val="00629F"/>
          </a:solidFill>
        </p:spPr>
        <p:txBody>
          <a:bodyPr lIns="10800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chemeClr val="bg1"/>
              </a:buClr>
              <a:buNone/>
              <a:tabLst/>
              <a:defRPr sz="2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chemeClr val="bg1"/>
              </a:buClr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chemeClr val="bg1"/>
              </a:buClr>
              <a:tabLst/>
              <a:defRPr sz="1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chemeClr val="bg1"/>
              </a:buClr>
              <a:tabLst/>
              <a:defRPr sz="1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9013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- small overlay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Insert photo 1500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E0A4A19-89A9-8948-BDDE-4E2EB8CFE8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86B91CD-B8EC-8C40-A3C6-C3EC4ECDB5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08400" y="1209600"/>
            <a:ext cx="2627313" cy="3484800"/>
          </a:xfrm>
          <a:solidFill>
            <a:schemeClr val="bg1"/>
          </a:solidFill>
        </p:spPr>
        <p:txBody>
          <a:bodyPr lIns="10800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rgbClr val="00629F"/>
              </a:buClr>
              <a:buNone/>
              <a:tabLst/>
              <a:defRPr sz="2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668338" indent="-312738">
              <a:lnSpc>
                <a:spcPct val="90000"/>
              </a:lnSpc>
              <a:buClr>
                <a:srgbClr val="00629F"/>
              </a:buClr>
              <a:tabLst/>
              <a:defRPr sz="24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rgbClr val="00629F"/>
              </a:buClr>
              <a:tabLst/>
              <a:defRPr sz="1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rgbClr val="00629F"/>
              </a:buClr>
              <a:tabLst/>
              <a:defRPr sz="1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8660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4511675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insert photo 419 x 843 px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21213" y="376238"/>
            <a:ext cx="3406776" cy="827087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GB" dirty="0"/>
              <a:t>Click to edit Master </a:t>
            </a:r>
            <a:br>
              <a:rPr lang="en-GB" dirty="0"/>
            </a:br>
            <a:r>
              <a:rPr lang="en-GB" dirty="0"/>
              <a:t>title style</a:t>
            </a:r>
            <a:endParaRPr lang="en-N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621212" y="1211264"/>
            <a:ext cx="4016375" cy="3484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01598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633200" y="0"/>
            <a:ext cx="45108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insert photo 419 x 843 p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7" y="376238"/>
            <a:ext cx="3997325" cy="827999"/>
          </a:xfr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GB" dirty="0"/>
              <a:t>Click to edit Master </a:t>
            </a:r>
            <a:br>
              <a:rPr lang="en-GB" dirty="0"/>
            </a:br>
            <a:r>
              <a:rPr lang="en-GB" dirty="0"/>
              <a:t>title style</a:t>
            </a:r>
            <a:endParaRPr lang="en-N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3237" y="1211264"/>
            <a:ext cx="3997325" cy="3484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917A831-45CE-E541-96F2-3935F3CC6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4767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mall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254871" y="0"/>
            <a:ext cx="5889128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insert photo </a:t>
            </a:r>
            <a:r>
              <a:rPr lang="en-GB" b="0" i="0" dirty="0">
                <a:solidFill>
                  <a:srgbClr val="1A1A1A"/>
                </a:solidFill>
                <a:effectLst/>
                <a:latin typeface="OpenSans"/>
              </a:rPr>
              <a:t>966 x 843 px</a:t>
            </a:r>
            <a:endParaRPr lang="en-US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2DB076B3-C88A-1849-AD02-099D8151BF1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9497" y="4719600"/>
            <a:ext cx="1064562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7" y="376239"/>
            <a:ext cx="2628901" cy="827999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GB" dirty="0"/>
              <a:t>Click to edit Master </a:t>
            </a:r>
            <a:br>
              <a:rPr lang="en-GB" dirty="0"/>
            </a:br>
            <a:r>
              <a:rPr lang="en-GB" dirty="0"/>
              <a:t>title style</a:t>
            </a:r>
            <a:endParaRPr lang="en-N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3237" y="1211263"/>
            <a:ext cx="2628901" cy="3484562"/>
          </a:xfrm>
        </p:spPr>
        <p:txBody>
          <a:bodyPr/>
          <a:lstStyle>
            <a:lvl5pPr>
              <a:defRPr b="0" i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04752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702219D4-C592-8940-ADFF-E19A71A469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03238" y="1211263"/>
            <a:ext cx="8125200" cy="3484562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>
              <a:defRPr lang="en-NL"/>
            </a:lvl1pPr>
          </a:lstStyle>
          <a:p>
            <a:pPr marL="0" lvl="0" indent="0" algn="ctr">
              <a:buNone/>
            </a:pPr>
            <a:r>
              <a:rPr lang="en-NL" dirty="0"/>
              <a:t>Insert picture 1333 x 572 px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C3C2A1-07A7-5B41-8DE2-73B3A2C86E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875176-00E7-454C-A1B4-BB08BBCF1A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0A9FE6-F5F5-754B-9C8F-D2926ACD6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783748B-8051-B04A-A330-D39286CDE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376238"/>
            <a:ext cx="7524750" cy="719137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35277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content -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03237" y="1211263"/>
            <a:ext cx="5380037" cy="3484562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Insert picture 882 x </a:t>
            </a:r>
            <a:r>
              <a:rPr lang="en-NL" dirty="0"/>
              <a:t>572 px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7" y="376238"/>
            <a:ext cx="7523999" cy="720000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N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007100" y="1211263"/>
            <a:ext cx="2633663" cy="3484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29567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">
    <p:bg>
      <p:bgPr>
        <a:gradFill>
          <a:gsLst>
            <a:gs pos="54000">
              <a:srgbClr val="277CBD"/>
            </a:gs>
            <a:gs pos="0">
              <a:srgbClr val="004F9B"/>
            </a:gs>
            <a:gs pos="100000">
              <a:srgbClr val="4EA8DE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41915F4-B8A1-F747-84F8-C0A9E23EAB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AF1B9CF-7070-3E45-A8F8-B49FDF1700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1F86775-9BAC-8C4A-B0F3-6CCEF30561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974426A-8BB2-2343-9F2B-54B7DD183B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171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18566EE-6596-4E4C-80AE-F3AC8BE71E4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384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conten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7D58B0C-DEF4-9C4E-83F3-91ADA716B2A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252788" y="1211263"/>
            <a:ext cx="5378400" cy="3484562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>
              <a:defRPr lang="en-NL"/>
            </a:lvl1pPr>
          </a:lstStyle>
          <a:p>
            <a:pPr marL="0" lvl="0" indent="0" algn="ctr">
              <a:buNone/>
            </a:pPr>
            <a:r>
              <a:rPr lang="en-US" dirty="0"/>
              <a:t>Insert picture 882 x </a:t>
            </a:r>
            <a:r>
              <a:rPr lang="en-NL" dirty="0"/>
              <a:t>572 px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6CED40C-8280-F64D-835C-BBE2711F60D9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AF8FD8-EE9D-314B-8AE1-79B9D514A94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51A93-47BF-3E4F-8F7A-57ED443F02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7" y="376238"/>
            <a:ext cx="7523999" cy="720000"/>
          </a:xfrm>
        </p:spPr>
        <p:txBody>
          <a:bodyPr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N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9A0CF2-F77E-DA44-97A6-E772500B7B8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3239" y="1211263"/>
            <a:ext cx="2628900" cy="3484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79744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E396CD-AD2C-4C47-BD26-1A8BF8500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376238"/>
            <a:ext cx="7524750" cy="719137"/>
          </a:xfr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NL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C3C2A1-07A7-5B41-8DE2-73B3A2C86E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875176-00E7-454C-A1B4-BB08BBCF1A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0A9FE6-F5F5-754B-9C8F-D2926ACD6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A8E6095F-3389-2E4D-BCE2-11E746829FB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02902" y="1211263"/>
            <a:ext cx="4003199" cy="2662237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>
              <a:buFontTx/>
              <a:buNone/>
              <a:defRPr lang="en-NL">
                <a:latin typeface="+mn-lt"/>
              </a:defRPr>
            </a:lvl1pPr>
          </a:lstStyle>
          <a:p>
            <a:pPr marL="0" lvl="0" indent="0" algn="ctr">
              <a:buNone/>
            </a:pPr>
            <a:r>
              <a:rPr lang="en-NL" dirty="0"/>
              <a:t>Insert picture 657 x 437 px </a:t>
            </a:r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6339CC5C-F22B-304D-A447-6670052130F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33200" y="1211263"/>
            <a:ext cx="4004388" cy="2662237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lang="en-NL"/>
            </a:lvl1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NL" dirty="0"/>
              <a:t>Insert picture 657 x 437 px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6D2172C-34C6-364E-BF0F-059D58EB956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02901" y="3873600"/>
            <a:ext cx="3996000" cy="820799"/>
          </a:xfrm>
        </p:spPr>
        <p:txBody>
          <a:bodyPr lIns="0" tIns="108000" rIns="90000" bIns="0" numCol="1" spcCol="270000">
            <a:noAutofit/>
          </a:bodyPr>
          <a:lstStyle>
            <a:lvl1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1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9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4430373-7B1A-A941-AC6D-93D4F8DFD56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33200" y="3873600"/>
            <a:ext cx="3996000" cy="820799"/>
          </a:xfrm>
        </p:spPr>
        <p:txBody>
          <a:bodyPr lIns="0" tIns="108000" rIns="90000" bIns="0" numCol="1" spcCol="270000">
            <a:noAutofit/>
          </a:bodyPr>
          <a:lstStyle>
            <a:lvl1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1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9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0997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">
    <p:bg>
      <p:bgPr>
        <a:gradFill>
          <a:gsLst>
            <a:gs pos="66000">
              <a:srgbClr val="005595"/>
            </a:gs>
            <a:gs pos="19000">
              <a:srgbClr val="00325D"/>
            </a:gs>
            <a:gs pos="100000">
              <a:schemeClr val="accent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743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6080312F-DC21-814A-BAB8-040151BB50ED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04826" y="4884454"/>
            <a:ext cx="718767" cy="10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C96B7945-F4F7-DE48-B97F-38E596BA46D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948068" y="4884454"/>
            <a:ext cx="3910151" cy="10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32A57064-1C6C-D845-B014-09A3E682B67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82120" y="4864360"/>
            <a:ext cx="199973" cy="15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B04BB31-3751-EE42-AD85-15C18A98058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2E323967-404E-AB4C-AC4D-0CDC89DC553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50021F8C-4E5C-3D45-BF5D-F2AF9BAC1C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430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mid-tone blue ">
    <p:bg>
      <p:bgPr>
        <a:gradFill>
          <a:gsLst>
            <a:gs pos="59500">
              <a:srgbClr val="0086C5"/>
            </a:gs>
            <a:gs pos="19000">
              <a:srgbClr val="00629F"/>
            </a:gs>
            <a:gs pos="100000">
              <a:srgbClr val="00A9EB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4">
            <a:extLst>
              <a:ext uri="{FF2B5EF4-FFF2-40B4-BE49-F238E27FC236}">
                <a16:creationId xmlns:a16="http://schemas.microsoft.com/office/drawing/2014/main" id="{CF684170-CD15-0644-90DE-14C3E2C95BD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04826" y="4884454"/>
            <a:ext cx="718767" cy="10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200883EC-6C7C-274C-AE4E-CFD99CA9C6C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948068" y="4884454"/>
            <a:ext cx="3910151" cy="10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792B5FA1-DF99-E442-8EBC-42C77C709B5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82120" y="4864360"/>
            <a:ext cx="199973" cy="150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2C2815B-2D21-594A-B627-9046569E9A2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9F0F0025-6299-A044-A653-6354D5DBB32B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195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13279F3-F710-B24E-9A7D-299C782C32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887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blu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224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3452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9023F51-026D-5E46-9A54-3FB9875B6196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9025032-5E65-0840-928E-8CC0B6A814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0344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blu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4496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6476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DEDCE0C-F84F-1E4A-ACC3-F4EDF4557EC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76F0F002-1EDC-2C43-90DE-583DAA8D58CF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0D338944-5F6B-8740-B33F-3797457441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9207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3272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719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5D74535-3265-D64A-81E0-73381FFC4CA3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3325164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blue ">
    <p:bg>
      <p:bgPr>
        <a:solidFill>
          <a:srgbClr val="9AD7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4587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521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4B1CE47-33D4-D54E-A336-2A5701982D7C}"/>
              </a:ext>
            </a:extLst>
          </p:cNvPr>
          <p:cNvSpPr/>
          <p:nvPr userDrawn="1"/>
        </p:nvSpPr>
        <p:spPr>
          <a:xfrm>
            <a:off x="2771800" y="2571750"/>
            <a:ext cx="3240360" cy="1008112"/>
          </a:xfrm>
          <a:prstGeom prst="rect">
            <a:avLst/>
          </a:prstGeom>
          <a:solidFill>
            <a:srgbClr val="99D6F8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F47BF3EC-16CE-A141-8FF7-985EF5BC11AF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5263BCAC-4CA0-974A-9D7E-258AFDAEDB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41765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aqua">
    <p:bg>
      <p:bgPr>
        <a:gradFill>
          <a:gsLst>
            <a:gs pos="65000">
              <a:srgbClr val="007377"/>
            </a:gs>
            <a:gs pos="15000">
              <a:srgbClr val="004B5D"/>
            </a:gs>
            <a:gs pos="100000">
              <a:srgbClr val="009A9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579AC81-C363-A948-A173-2610E0CA6E5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1A0CBB6-7602-DE40-B831-5A107B3A2C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8A4F92F-F20F-6F4A-80DE-BF396AB6B1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8785A6D-6D1D-FC43-B2BE-87D984BA45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2FA384E-014D-9B44-93C2-668D70BBA4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822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308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aqua">
    <p:bg>
      <p:bgPr>
        <a:gradFill>
          <a:gsLst>
            <a:gs pos="65000">
              <a:srgbClr val="007377"/>
            </a:gs>
            <a:gs pos="15000">
              <a:srgbClr val="004B5D"/>
            </a:gs>
            <a:gs pos="100000">
              <a:srgbClr val="009A9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3940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3D2C968-C244-0D49-AD1E-AFCB0A150AE5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9891879-481F-9042-86C3-D097F65751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478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183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1173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1" y="376238"/>
            <a:ext cx="7523937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rgbClr val="00629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D91CE8-1286-8B44-89AD-06BCF1ECB08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2282174-65D2-744A-B154-E872792C7B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9954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aqu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1404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4A82FD8-C123-6C4B-8DBE-9837122C55EC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5AC5C26-E5A8-3C47-93EB-265662C7AB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95169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aqu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2175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BAEF666-6359-5147-A05F-BA3CE32B16B7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F82B835-5158-3F45-A2C4-061F625ECB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C4E03471-5FE6-D74B-9540-92B9C4D01D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10413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aqu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0126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15E7E6A-5494-3142-B269-7544F9FE7C86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3916368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aqua ">
    <p:bg>
      <p:bgPr>
        <a:solidFill>
          <a:srgbClr val="7EDD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247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F811A9D1-DBF1-C14E-991F-72D578D7466F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0D900186-F920-6143-855B-886099E8AD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7670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green">
    <p:bg>
      <p:bgPr>
        <a:gradFill>
          <a:gsLst>
            <a:gs pos="67000">
              <a:srgbClr val="006635"/>
            </a:gs>
            <a:gs pos="17000">
              <a:srgbClr val="004631"/>
            </a:gs>
            <a:gs pos="100000">
              <a:srgbClr val="008538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05BBF4A6-8DDC-2E4C-96CF-51EBD1E6D01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FB8A8EB-436C-6845-86B7-D6FDC99FC0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AE0E691-8886-0E40-9EA4-B3F26CBD07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6D863537-6FEA-BE40-BF38-7FB3EB702F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128E57D-867F-FB4E-9580-AC8A24BC56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8868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3914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green">
    <p:bg>
      <p:bgPr>
        <a:gradFill>
          <a:gsLst>
            <a:gs pos="67000">
              <a:srgbClr val="006635"/>
            </a:gs>
            <a:gs pos="17000">
              <a:srgbClr val="004631"/>
            </a:gs>
            <a:gs pos="100000">
              <a:srgbClr val="008538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3316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3029DE3-64CC-1E40-9F25-0CCA08B61EA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4CEB893-B518-6041-B6CB-4CBC6971C4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2848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9357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C915394F-6FD1-B44A-8BC5-25A08530D6B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1115E60C-9A7F-7F49-933E-B7F92FC68E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32979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2414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2B1E0AD-84FA-5242-9A46-D758468C9A8B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E0D12D96-2291-5F4D-BBAF-D4B2125B99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20390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0364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EDD577C-F99F-FA4F-9FB5-A0C6AA0A7B9B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4205019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green ">
    <p:bg>
      <p:bgPr>
        <a:solidFill>
          <a:srgbClr val="A0DA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4460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57255F6-8C21-744F-8D92-C06DDC109BEC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3C389B14-2D49-EE42-981F-30A66F75FB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97672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3413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814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1" y="376238"/>
            <a:ext cx="7523937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BA8BC5E-E6A4-8645-A260-7CADE8CBCF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C02D2E6-100E-1F4B-9A7C-96F5646577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tx1"/>
              </a:buClr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tx1"/>
              </a:buClr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tx1"/>
              </a:buClr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48721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range">
    <p:bg>
      <p:bgPr>
        <a:gradFill>
          <a:gsLst>
            <a:gs pos="70000">
              <a:srgbClr val="CC5B21"/>
            </a:gs>
            <a:gs pos="10000">
              <a:srgbClr val="AA3526"/>
            </a:gs>
            <a:gs pos="100000">
              <a:srgbClr val="EE801C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8AE024E-D1DE-C94C-9CD8-854D4BCAA9B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908D519-DB29-5745-B29A-73745ED259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7EDB387-9FED-7D4A-9D4B-F0FEF66D69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CE77903-9A5C-CD4A-BFFA-94D952A945D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C1FB469-169F-6145-9457-2AD3FA7D03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0916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5952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orange">
    <p:bg>
      <p:bgPr>
        <a:gradFill>
          <a:gsLst>
            <a:gs pos="70000">
              <a:srgbClr val="CC5B21"/>
            </a:gs>
            <a:gs pos="10000">
              <a:srgbClr val="AA3526"/>
            </a:gs>
            <a:gs pos="100000">
              <a:srgbClr val="EE801C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8432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FA0C0B3-F2D9-E64F-8BD1-FB651108C6E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AB368F29-A0F3-CB41-8BE8-8BBB19E488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9031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7310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1EB9AEEA-C1D8-F744-818F-1B46877C98D0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BD88AF71-7FE9-C34C-BA7E-DCB2552480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95613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orang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843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0604DC70-6B27-494D-96E0-FD89F9EE6A3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0B597171-0B66-7940-8E37-08BEE9007F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50357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orange">
    <p:bg>
      <p:bgPr>
        <a:solidFill>
          <a:srgbClr val="DE7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796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46D74D1-4655-1543-8CF6-6BF7823C4521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402276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orange ">
    <p:bg>
      <p:bgPr>
        <a:solidFill>
          <a:srgbClr val="FDD3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891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5C94CFF-D91A-4F41-8BA6-E95F1752CCD8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50FFAD38-CDC2-B446-A69B-6AE99B7F17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38344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agenta">
    <p:bg>
      <p:bgPr>
        <a:gradFill>
          <a:gsLst>
            <a:gs pos="64000">
              <a:srgbClr val="B90C62"/>
            </a:gs>
            <a:gs pos="13000">
              <a:srgbClr val="7F184A"/>
            </a:gs>
            <a:gs pos="100000">
              <a:srgbClr val="F3007A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F2A7186A-964A-EB4F-9789-044D19D95B0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127F79B-1E65-DD48-B267-7AFEB6BBE2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20A9773-912D-6D4A-A0AE-90D94C6C65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340A695-565C-C043-A4B4-C207135F1A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239C626-9C15-2643-A855-1774CFA000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2963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4518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magenta">
    <p:bg>
      <p:bgPr>
        <a:gradFill>
          <a:gsLst>
            <a:gs pos="64000">
              <a:srgbClr val="B90C62"/>
            </a:gs>
            <a:gs pos="13000">
              <a:srgbClr val="7F184A"/>
            </a:gs>
            <a:gs pos="100000">
              <a:srgbClr val="F3007A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524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D31B981-DD0B-5D4C-8417-F2DDB9BFD56A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D286636-2880-ED4E-BBAA-D8B224CAD9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6176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magent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5263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E1BA89A-E5A3-F641-B25E-4A8111969303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01DB0F5-C84F-CC4F-AF5C-9DB1CBA157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89638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magent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057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8C348877-476A-6B4C-A12D-64D2709CD87F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9AFBC0C-67B5-B845-B0A6-CCF7CFE846D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13867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3829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8523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51" y="376238"/>
            <a:ext cx="7523937" cy="719137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2400">
                <a:solidFill>
                  <a:srgbClr val="00629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D91CE8-1286-8B44-89AD-06BCF1ECB08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64473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magent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010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E7A9680-8254-064D-82E7-A42090B7D70A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1236056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magenta ">
    <p:bg>
      <p:bgPr>
        <a:solidFill>
          <a:srgbClr val="EABE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2105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232576B3-A440-3948-B537-27709157EB01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5B673564-5C8F-924B-865D-42FDB77924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78859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urple">
    <p:bg>
      <p:bgPr>
        <a:gradFill>
          <a:gsLst>
            <a:gs pos="68000">
              <a:srgbClr val="6D258C"/>
            </a:gs>
            <a:gs pos="13000">
              <a:srgbClr val="450659"/>
            </a:gs>
            <a:gs pos="100000">
              <a:srgbClr val="9443BE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1BB80A2C-1391-9F42-89CA-3283D012270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725152D-96F4-C548-8A29-98FC765774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837437" y="3565406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FA72A02-B72F-AA46-A1B9-972C4E4911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837437" y="3754620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BE3F0DA-D8A1-4C4E-B6E8-DA8D240EF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837437" y="3943834"/>
            <a:ext cx="4324891" cy="18921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CDE3264-E045-0641-A1A3-A1E80BC0E42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837437" y="2038742"/>
            <a:ext cx="6169658" cy="1206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010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8484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purple">
    <p:bg>
      <p:bgPr>
        <a:gradFill>
          <a:gsLst>
            <a:gs pos="68000">
              <a:srgbClr val="6D258C"/>
            </a:gs>
            <a:gs pos="13000">
              <a:srgbClr val="450659"/>
            </a:gs>
            <a:gs pos="100000">
              <a:srgbClr val="9443BE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7642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9CAD6624-CFD3-DE4F-9CE8-5EA1C453A873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F89A81F-5DBF-634D-A753-E2383D9012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100000"/>
              </a:lnSpc>
              <a:buClr>
                <a:schemeClr val="bg1"/>
              </a:buClr>
              <a:buNone/>
              <a:tabLst/>
              <a:defRPr sz="3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100000"/>
              </a:lnSpc>
              <a:buClr>
                <a:schemeClr val="bg1"/>
              </a:buClr>
              <a:tabLst/>
              <a:defRPr sz="38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100000"/>
              </a:lnSpc>
              <a:buClr>
                <a:schemeClr val="bg1"/>
              </a:buClr>
              <a:tabLst/>
              <a:defRPr sz="30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100000"/>
              </a:lnSpc>
              <a:buClr>
                <a:schemeClr val="bg1"/>
              </a:buClr>
              <a:tabLst/>
              <a:defRPr sz="2600" b="0" i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2078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purple">
    <p:bg>
      <p:bgPr>
        <a:solidFill>
          <a:srgbClr val="8345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3216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05406B4-D089-FF4F-8963-A2FC70C89784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A523F0ED-CB93-DE48-AFB9-A53AD55835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9132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- purple ">
    <p:bg>
      <p:bgPr>
        <a:solidFill>
          <a:srgbClr val="8345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9272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4" y="216000"/>
            <a:ext cx="360000" cy="459781"/>
          </a:xfrm>
          <a:prstGeom prst="rect">
            <a:avLst/>
          </a:prstGeom>
          <a:noFill/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854ACE5-1FDD-2146-991B-186523A7E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29600" y="1211263"/>
            <a:ext cx="4006800" cy="3484562"/>
          </a:xfrm>
        </p:spPr>
        <p:txBody>
          <a:bodyPr lIns="0" tIns="0" rIns="108000" bIns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AFBDA501-D362-2A4F-A6ED-4245831FDEAE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43130FA-B170-8448-BE52-8B7BFBDA9E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4" y="1211263"/>
            <a:ext cx="4006800" cy="3484800"/>
          </a:xfrm>
        </p:spPr>
        <p:txBody>
          <a:bodyPr lIns="0" tIns="0" rIns="108000" bIns="0" numCol="1" spcCol="270000">
            <a:noAutofit/>
          </a:bodyPr>
          <a:lstStyle>
            <a:lvl1pPr>
              <a:lnSpc>
                <a:spcPct val="100000"/>
              </a:lnSpc>
              <a:buClr>
                <a:schemeClr val="bg1"/>
              </a:buClr>
              <a:defRPr sz="14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 sz="12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05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000" b="0" i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1966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purple">
    <p:bg>
      <p:bgPr>
        <a:solidFill>
          <a:srgbClr val="8345B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225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D822C79-3554-5A4B-9209-FC2B5267AA88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</p:spTree>
    <p:extLst>
      <p:ext uri="{BB962C8B-B14F-4D97-AF65-F5344CB8AC3E}">
        <p14:creationId xmlns:p14="http://schemas.microsoft.com/office/powerpoint/2010/main" val="2463739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 - light purple">
    <p:bg>
      <p:bgPr>
        <a:solidFill>
          <a:srgbClr val="C1A0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1321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6" y="380998"/>
            <a:ext cx="7523937" cy="72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9781"/>
          </a:xfrm>
          <a:prstGeom prst="rect">
            <a:avLst/>
          </a:prstGeom>
          <a:noFill/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3431FD78-9D96-9849-AB18-46CC54BF0B00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7567609-5959-4141-B4DA-A1F5F678EF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8135939" cy="3484800"/>
          </a:xfrm>
        </p:spPr>
        <p:txBody>
          <a:bodyPr lIns="0" tIns="0" rIns="0" bIns="0" numCol="1" spcCol="270000">
            <a:noAutofit/>
          </a:bodyPr>
          <a:lstStyle>
            <a:lvl1pPr>
              <a:lnSpc>
                <a:spcPct val="100000"/>
              </a:lnSpc>
              <a:defRPr sz="14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  <a:lvl2pPr>
              <a:lnSpc>
                <a:spcPct val="100000"/>
              </a:lnSpc>
              <a:defRPr sz="12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2pPr>
            <a:lvl3pPr>
              <a:lnSpc>
                <a:spcPct val="100000"/>
              </a:lnSpc>
              <a:defRPr sz="10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3pPr>
            <a:lvl4pPr>
              <a:lnSpc>
                <a:spcPct val="100000"/>
              </a:lnSpc>
              <a:defRPr sz="10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2994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3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50CE0E-F179-458C-AEB1-36BDA9AF42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0378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1516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50CE0E-F179-458C-AEB1-36BDA9AF42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FE540E8-853F-49F5-AAA0-593FDDFCB4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4C2BE2D-951F-4D2E-A248-5E79BA206E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me period, data scenario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441B2E9-68F4-4A38-9D55-0A186439180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058F3F5-669F-4BEE-968A-F64356A6CD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ent, unit measurement</a:t>
            </a:r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C4A983AC-6F9B-471B-87E8-D4505A31FE4E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EA0FB69-E866-4F1C-87F8-ADA6A511DB1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4456" y="948267"/>
            <a:ext cx="8955089" cy="3776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A3B99A-F127-9346-BD1E-5E71BD5CE196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A0BD20F-1F50-6A4D-99F6-9DA774AC2A4E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C5230213-6661-3D4D-8989-3D83676989A5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34717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4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AB418BD-1930-49DC-9A84-0178614669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7532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2540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AB418BD-1930-49DC-9A84-017861466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894897C-9089-4E46-A4DC-D9375AE2C9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24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5C9809-688D-4100-A0FE-DB6EB41BC20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F164E04-503E-48E0-8056-F4A846A8D60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3E3274A-0D5B-4B5E-963A-4AD0C038490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4" name="Straight Connector 17">
            <a:extLst>
              <a:ext uri="{FF2B5EF4-FFF2-40B4-BE49-F238E27FC236}">
                <a16:creationId xmlns:a16="http://schemas.microsoft.com/office/drawing/2014/main" id="{073504F8-A36C-4A96-9962-DBD59D731B7C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97E0385-9465-469B-9CA7-ABB0EB4E48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456" y="948268"/>
            <a:ext cx="8955089" cy="3776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49489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orient="horz" pos="534">
          <p15:clr>
            <a:srgbClr val="FBAE40"/>
          </p15:clr>
        </p15:guide>
        <p15:guide id="3" pos="5697">
          <p15:clr>
            <a:srgbClr val="FBAE40"/>
          </p15:clr>
        </p15:guide>
        <p15:guide id="4" orient="horz" pos="393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7664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6588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03697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C896B7-FACB-4D7B-A4F4-8CE484CBAD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6754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3564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C896B7-FACB-4D7B-A4F4-8CE484CBA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ADAA302-4954-4070-845B-E3247AC801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1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913354F-6E59-49EF-93BE-EAF0DC89F6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7171BA3-E603-4FDD-B59F-EF9A1D5D539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FD21293-C0ED-4019-808D-8F22DD7C370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CDAF2D5-0296-4D0F-805B-B7D7045798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50E6CF-65D4-44D5-BB75-32FC616FF2E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3B535E-80AA-4B5F-B505-6AE4D82B205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779868-A62C-4FF8-88BB-692DFBB3AF3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8CA4B699-1B76-42B1-970D-8B5F927F5D43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9807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no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47BB81-5ED6-4620-B6AB-9F7CAE2CB6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8066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4588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47BB81-5ED6-4620-B6AB-9F7CAE2CB6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84C154A-EDEF-494B-95FD-05C9428083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2B18CF-CA9C-4A69-B7C8-A4C94FF29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6AD015-F4ED-4FC4-A52C-B985B1A9C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E7AFA2-6720-468E-9F40-2499D9FB7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9" name="Straight Connector 17">
            <a:extLst>
              <a:ext uri="{FF2B5EF4-FFF2-40B4-BE49-F238E27FC236}">
                <a16:creationId xmlns:a16="http://schemas.microsoft.com/office/drawing/2014/main" id="{50CCBDD5-A078-4F63-AC4E-A4BB95B75007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7779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73966E-CFE3-49CC-B52A-C5B637544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2766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5612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73966E-CFE3-49CC-B52A-C5B637544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FC3CDD-A9EE-4A29-BDB5-DDD9F2931D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0BB6E0D-3F39-440A-BD9D-79E5F24876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5E28750-0E4B-4D33-9132-AD81766D92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C5D1072-8A57-4985-9114-7AB80099D9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22D0EE4-A772-43CA-87B6-4AAA26C168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82124D-0640-4AE6-AECC-F4880DA1C39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1E07C9-1AA8-427A-8D3F-F90DA800C51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797C04-425D-49F7-8B2B-D4A178C161E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F4A6D036-B440-4848-AD09-10D95A6851EB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98D6D76-355E-455E-9573-01D135D9D92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55361" y="948268"/>
            <a:ext cx="2694184" cy="3776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04776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039C25-38EE-4409-8846-AD3780FDA7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0625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6636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039C25-38EE-4409-8846-AD3780FDA7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31B7F0-8291-45AD-B310-18C6F32C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2" name="Titel 4"/>
          <p:cNvSpPr>
            <a:spLocks noGrp="1"/>
          </p:cNvSpPr>
          <p:nvPr>
            <p:ph type="title" hasCustomPrompt="1"/>
          </p:nvPr>
        </p:nvSpPr>
        <p:spPr>
          <a:xfrm>
            <a:off x="2529842" y="39155"/>
            <a:ext cx="5241404" cy="590400"/>
          </a:xfrm>
        </p:spPr>
        <p:txBody>
          <a:bodyPr/>
          <a:lstStyle>
            <a:lvl1pPr algn="l">
              <a:lnSpc>
                <a:spcPts val="1600"/>
              </a:lnSpc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66FA14-A13E-4C88-AA9E-2E47483D50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353371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198432D-6F74-40F0-A171-A0B5FD017F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510480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1023FC6-6139-470D-844E-BC0D615613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39155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2569437-C2DB-4F3A-9508-BB720F4BFE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196263"/>
            <a:ext cx="2349942" cy="1296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7D807E-C4CE-4AA4-8ED9-448491339EC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38CB85-32FF-48FD-9896-C7B7E8F6EDB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580397-EA1F-41BE-8CB8-EE87F91FA06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C539D5CE-18F8-4235-A29E-31342295EE0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89253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6F1E93-15E1-4055-8C44-6E1B52D56A8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456" y="3528059"/>
            <a:ext cx="3817122" cy="11963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116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blue">
    <p:bg>
      <p:bgPr>
        <a:gradFill>
          <a:gsLst>
            <a:gs pos="66000">
              <a:srgbClr val="005595"/>
            </a:gs>
            <a:gs pos="19000">
              <a:srgbClr val="00325D"/>
            </a:gs>
            <a:gs pos="100000">
              <a:schemeClr val="accent1"/>
            </a:gs>
          </a:gsLst>
          <a:lin ang="2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8634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C937022-651A-CB44-9522-9D3927CBABCD}"/>
              </a:ext>
            </a:extLst>
          </p:cNvPr>
          <p:cNvPicPr>
            <a:picLocks/>
          </p:cNvPicPr>
          <p:nvPr userDrawn="1"/>
        </p:nvPicPr>
        <p:blipFill>
          <a:blip r:embed="rId7">
            <a:alphaModFix/>
          </a:blip>
          <a:stretch>
            <a:fillRect/>
          </a:stretch>
        </p:blipFill>
        <p:spPr>
          <a:xfrm>
            <a:off x="3988103" y="1835838"/>
            <a:ext cx="1144502" cy="145782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61779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07504" y="4677984"/>
            <a:ext cx="8928992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1" tIns="40815" rIns="81631" bIns="40815" rtlCol="0" anchor="ctr"/>
          <a:lstStyle/>
          <a:p>
            <a:pPr algn="ctr"/>
            <a:endParaRPr lang="en-US" b="0" i="0" dirty="0">
              <a:latin typeface="Calibri Light" panose="020F0302020204030204" pitchFamily="34" charset="0"/>
            </a:endParaRPr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D2D99289-1788-4094-95D8-16BE8E42F8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8103" y="1835837"/>
            <a:ext cx="1144502" cy="145495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22862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F14B76D6-1E80-FE45-861E-898D9060FB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380999"/>
            <a:ext cx="7523937" cy="4315064"/>
          </a:xfrm>
        </p:spPr>
        <p:txBody>
          <a:bodyPr lIns="0" tIns="0" rIns="0" bIns="0" anchor="ctr" anchorCtr="0">
            <a:noAutofit/>
          </a:bodyPr>
          <a:lstStyle>
            <a:lvl1pPr marL="6350" indent="-6350">
              <a:lnSpc>
                <a:spcPct val="90000"/>
              </a:lnSpc>
              <a:buClr>
                <a:srgbClr val="00629F"/>
              </a:buClr>
              <a:buNone/>
              <a:tabLst/>
              <a:defRPr sz="3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1pPr>
            <a:lvl2pPr marL="757238" indent="-401638">
              <a:lnSpc>
                <a:spcPct val="90000"/>
              </a:lnSpc>
              <a:buClr>
                <a:srgbClr val="00629F"/>
              </a:buClr>
              <a:buNone/>
              <a:tabLst/>
              <a:defRPr sz="38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2pPr>
            <a:lvl3pPr marL="979488" indent="-266700">
              <a:lnSpc>
                <a:spcPct val="90000"/>
              </a:lnSpc>
              <a:buClr>
                <a:srgbClr val="00629F"/>
              </a:buClr>
              <a:buNone/>
              <a:tabLst/>
              <a:defRPr sz="30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3pPr>
            <a:lvl4pPr marL="1292225" indent="-254000">
              <a:lnSpc>
                <a:spcPct val="90000"/>
              </a:lnSpc>
              <a:buClr>
                <a:srgbClr val="00629F"/>
              </a:buClr>
              <a:buNone/>
              <a:tabLst/>
              <a:defRPr sz="2600" b="0" i="0">
                <a:solidFill>
                  <a:srgbClr val="00629F"/>
                </a:solidFill>
                <a:latin typeface="+mj-lt"/>
                <a:cs typeface="Calibri Light" panose="020F030202020403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9254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34005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video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8386B580-0255-B14B-8CC7-759D3E4E7726}"/>
              </a:ext>
            </a:extLst>
          </p:cNvPr>
          <p:cNvSpPr>
            <a:spLocks noGrp="1"/>
          </p:cNvSpPr>
          <p:nvPr>
            <p:ph type="media" sz="quarter" idx="24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bIns="503999" anchor="ctr"/>
          <a:lstStyle>
            <a:lvl1pPr algn="ctr">
              <a:buNone/>
              <a:defRPr/>
            </a:lvl1pPr>
          </a:lstStyle>
          <a:p>
            <a:r>
              <a:rPr lang="en-US"/>
              <a:t>Click icon to add media</a:t>
            </a:r>
            <a:endParaRPr lang="en-NL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1A9D1465-550E-0E4E-B1C9-13DDC9BD1E1F}"/>
              </a:ext>
            </a:extLst>
          </p:cNvPr>
          <p:cNvSpPr txBox="1">
            <a:spLocks/>
          </p:cNvSpPr>
          <p:nvPr userDrawn="1"/>
        </p:nvSpPr>
        <p:spPr>
          <a:xfrm>
            <a:off x="7889640" y="4719600"/>
            <a:ext cx="1063904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8F9AEC4-9B91-9248-8223-A4EF9444EE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F13E90-F8D2-5949-AAA4-3C6C8F4DC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83D8F-4BC0-164F-B136-151A904FB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78949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D4F054F-6CD0-C744-99DB-747A5AF70D4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vert="horz" lIns="0" tIns="0" rIns="0" bIns="576000" spcCol="324000" rtlCol="0" anchor="ctr">
            <a:noAutofit/>
          </a:bodyPr>
          <a:lstStyle>
            <a:lvl1pPr marL="0" indent="0" algn="ctr"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insert photo 1500 x 843 px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8F9AEC4-9B91-9248-8223-A4EF9444EE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F13E90-F8D2-5949-AAA4-3C6C8F4DC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83D8F-4BC0-164F-B136-151A904FB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69BFD60-1F6E-8847-8AF0-D376979663F9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8510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2FBD5542-7C18-554E-8C38-9C18824A0F2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80764" y="216000"/>
            <a:ext cx="360000" cy="457297"/>
          </a:xfr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80295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vmlDrawing" Target="../drawings/vmlDrawing1.v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8"/>
            </p:custDataLst>
            <p:extLst>
              <p:ext uri="{D42A27DB-BD31-4B8C-83A1-F6EECF244321}">
                <p14:modId xmlns:p14="http://schemas.microsoft.com/office/powerpoint/2010/main" val="1948553763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439"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7A5D2E64-2649-4557-8200-E78DF2A57EFC}"/>
              </a:ext>
            </a:extLst>
          </p:cNvPr>
          <p:cNvPicPr>
            <a:picLocks noChangeAspect="1"/>
          </p:cNvPicPr>
          <p:nvPr userDrawn="1"/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0763" y="216000"/>
            <a:ext cx="360000" cy="457297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BA08C5-5A5A-413C-BB47-80E1FBC063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826" y="4884454"/>
            <a:ext cx="718767" cy="10797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1528AAF-4F0A-419B-8AAE-5F058B1EDE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48068" y="4884454"/>
            <a:ext cx="3910151" cy="10797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5343E1D-8E69-45CA-BB05-A8D2AF3930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2120" y="4864360"/>
            <a:ext cx="199973" cy="1502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846266C-4ECA-426E-AC3C-9C2166215C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4823" y="1211263"/>
            <a:ext cx="8132765" cy="3484800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94B2A6A-BE43-1D4A-8330-3072C7FC58B6}"/>
              </a:ext>
            </a:extLst>
          </p:cNvPr>
          <p:cNvSpPr txBox="1">
            <a:spLocks/>
          </p:cNvSpPr>
          <p:nvPr userDrawn="1"/>
        </p:nvSpPr>
        <p:spPr>
          <a:xfrm>
            <a:off x="7884368" y="4719600"/>
            <a:ext cx="1069691" cy="27529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r" defTabSz="914278" rtl="0" eaLnBrk="1" latinLnBrk="0" hangingPunct="1">
              <a:defRPr sz="7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bg1">
                    <a:lumMod val="65000"/>
                  </a:schemeClr>
                </a:solidFill>
              </a:rPr>
              <a:t>© Koninklijke Philips N.V.</a:t>
            </a:r>
          </a:p>
        </p:txBody>
      </p:sp>
      <p:sp>
        <p:nvSpPr>
          <p:cNvPr id="6" name="Title Placeholder 5">
            <a:extLst>
              <a:ext uri="{FF2B5EF4-FFF2-40B4-BE49-F238E27FC236}">
                <a16:creationId xmlns:a16="http://schemas.microsoft.com/office/drawing/2014/main" id="{A0613193-D73A-5A4B-9E3D-2F277B4E03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376238"/>
            <a:ext cx="7524750" cy="71913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NL" dirty="0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111333B-FBA5-4875-A5DE-3B4281D761D5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396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4" r:id="rId1"/>
    <p:sldLayoutId id="2147484145" r:id="rId2"/>
    <p:sldLayoutId id="2147484178" r:id="rId3"/>
    <p:sldLayoutId id="2147483860" r:id="rId4"/>
    <p:sldLayoutId id="2147483955" r:id="rId5"/>
    <p:sldLayoutId id="2147483692" r:id="rId6"/>
    <p:sldLayoutId id="2147484176" r:id="rId7"/>
    <p:sldLayoutId id="2147483862" r:id="rId8"/>
    <p:sldLayoutId id="2147483948" r:id="rId9"/>
    <p:sldLayoutId id="2147483871" r:id="rId10"/>
    <p:sldLayoutId id="2147483866" r:id="rId11"/>
    <p:sldLayoutId id="2147483975" r:id="rId12"/>
    <p:sldLayoutId id="2147483867" r:id="rId13"/>
    <p:sldLayoutId id="2147483976" r:id="rId14"/>
    <p:sldLayoutId id="2147483984" r:id="rId15"/>
    <p:sldLayoutId id="2147483933" r:id="rId16"/>
    <p:sldLayoutId id="2147483869" r:id="rId17"/>
    <p:sldLayoutId id="2147483939" r:id="rId18"/>
    <p:sldLayoutId id="2147483936" r:id="rId19"/>
    <p:sldLayoutId id="2147483937" r:id="rId20"/>
    <p:sldLayoutId id="2147483938" r:id="rId21"/>
    <p:sldLayoutId id="2147484177" r:id="rId22"/>
    <p:sldLayoutId id="2147484146" r:id="rId23"/>
    <p:sldLayoutId id="2147484184" r:id="rId24"/>
    <p:sldLayoutId id="2147483918" r:id="rId25"/>
    <p:sldLayoutId id="2147483742" r:id="rId26"/>
    <p:sldLayoutId id="2147483766" r:id="rId27"/>
    <p:sldLayoutId id="2147484171" r:id="rId28"/>
    <p:sldLayoutId id="2147484149" r:id="rId29"/>
    <p:sldLayoutId id="2147484183" r:id="rId30"/>
    <p:sldLayoutId id="2147484095" r:id="rId31"/>
    <p:sldLayoutId id="2147484093" r:id="rId32"/>
    <p:sldLayoutId id="2147484100" r:id="rId33"/>
    <p:sldLayoutId id="2147484172" r:id="rId34"/>
    <p:sldLayoutId id="2147484152" r:id="rId35"/>
    <p:sldLayoutId id="2147484182" r:id="rId36"/>
    <p:sldLayoutId id="2147484107" r:id="rId37"/>
    <p:sldLayoutId id="2147484105" r:id="rId38"/>
    <p:sldLayoutId id="2147484109" r:id="rId39"/>
    <p:sldLayoutId id="2147484173" r:id="rId40"/>
    <p:sldLayoutId id="2147484155" r:id="rId41"/>
    <p:sldLayoutId id="2147484181" r:id="rId42"/>
    <p:sldLayoutId id="2147484116" r:id="rId43"/>
    <p:sldLayoutId id="2147484114" r:id="rId44"/>
    <p:sldLayoutId id="2147484118" r:id="rId45"/>
    <p:sldLayoutId id="2147484174" r:id="rId46"/>
    <p:sldLayoutId id="2147484158" r:id="rId47"/>
    <p:sldLayoutId id="2147484180" r:id="rId48"/>
    <p:sldLayoutId id="2147484125" r:id="rId49"/>
    <p:sldLayoutId id="2147484123" r:id="rId50"/>
    <p:sldLayoutId id="2147484127" r:id="rId51"/>
    <p:sldLayoutId id="2147484175" r:id="rId52"/>
    <p:sldLayoutId id="2147484160" r:id="rId53"/>
    <p:sldLayoutId id="2147484179" r:id="rId54"/>
    <p:sldLayoutId id="2147484134" r:id="rId55"/>
    <p:sldLayoutId id="2147484132" r:id="rId56"/>
    <p:sldLayoutId id="2147484136" r:id="rId57"/>
    <p:sldLayoutId id="2147484185" r:id="rId58"/>
    <p:sldLayoutId id="2147484186" r:id="rId59"/>
    <p:sldLayoutId id="2147484187" r:id="rId60"/>
    <p:sldLayoutId id="2147484188" r:id="rId61"/>
    <p:sldLayoutId id="2147484189" r:id="rId62"/>
    <p:sldLayoutId id="2147484190" r:id="rId63"/>
    <p:sldLayoutId id="2147484169" r:id="rId64"/>
    <p:sldLayoutId id="2147484142" r:id="rId65"/>
  </p:sldLayoutIdLst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lang="en-US" sz="2400" kern="1200" smtClean="0">
          <a:solidFill>
            <a:srgbClr val="00629F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40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320040" indent="-13716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20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2pPr>
      <a:lvl3pPr marL="429768" indent="-10795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US" sz="105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594360" indent="-13716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000" b="0" i="0" kern="1200" dirty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701675" indent="-10795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IN" sz="1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7">
          <p15:clr>
            <a:srgbClr val="A4A3A4"/>
          </p15:clr>
        </p15:guide>
        <p15:guide id="2" pos="5441">
          <p15:clr>
            <a:srgbClr val="A4A3A4"/>
          </p15:clr>
        </p15:guide>
        <p15:guide id="4" orient="horz" pos="237">
          <p15:clr>
            <a:srgbClr val="A4A3A4"/>
          </p15:clr>
        </p15:guide>
        <p15:guide id="5" orient="horz" pos="690">
          <p15:clr>
            <a:srgbClr val="A4A3A4"/>
          </p15:clr>
        </p15:guide>
        <p15:guide id="6" orient="horz" pos="763">
          <p15:clr>
            <a:srgbClr val="A4A3A4"/>
          </p15:clr>
        </p15:guide>
        <p15:guide id="7" orient="horz" pos="2958">
          <p15:clr>
            <a:srgbClr val="A4A3A4"/>
          </p15:clr>
        </p15:guide>
        <p15:guide id="12" pos="2911" userDrawn="1">
          <p15:clr>
            <a:srgbClr val="A4A3A4"/>
          </p15:clr>
        </p15:guide>
        <p15:guide id="14" pos="2849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l7.org/fhir/valueset-issue-type.html" TargetMode="External"/><Relationship Id="rId2" Type="http://schemas.openxmlformats.org/officeDocument/2006/relationships/hyperlink" Target="https://fhircast.org/events/syncerror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328EA9D-BE95-6043-B689-A96A780C39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Bas van den Heu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403BAB-1548-B44F-8E3D-85FE8CD026D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17C87F-2DCD-BF4B-A51C-A8A46AA7C9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41DCD1-7E07-4346-AC06-6E652593FA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ync-error deep dive</a:t>
            </a:r>
          </a:p>
        </p:txBody>
      </p:sp>
    </p:spTree>
    <p:extLst>
      <p:ext uri="{BB962C8B-B14F-4D97-AF65-F5344CB8AC3E}">
        <p14:creationId xmlns:p14="http://schemas.microsoft.com/office/powerpoint/2010/main" val="1788356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C90A3C-F21A-4D37-A46F-AFC4BA1339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2C5118-241F-43BB-B096-E9B9E591D8D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3D4599-EFEB-4918-8EA9-1E0698EAFF3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A71C34-906C-4199-BD84-A527C57FC1C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7EB4682-B700-4C8B-AAE1-798A47394B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How do we interoperable identify apps?</a:t>
            </a:r>
          </a:p>
          <a:p>
            <a:pPr lvl="1"/>
            <a:r>
              <a:rPr lang="en-US" dirty="0"/>
              <a:t>which send an event</a:t>
            </a:r>
          </a:p>
          <a:p>
            <a:pPr lvl="1"/>
            <a:r>
              <a:rPr lang="en-US" dirty="0"/>
              <a:t>which participate in a session</a:t>
            </a:r>
          </a:p>
          <a:p>
            <a:pPr lvl="1"/>
            <a:endParaRPr lang="en-US" dirty="0"/>
          </a:p>
          <a:p>
            <a:r>
              <a:rPr lang="en-US" dirty="0"/>
              <a:t>When does a hub forcibly unsubscribe an app?</a:t>
            </a:r>
          </a:p>
          <a:p>
            <a:pPr marL="182880" lvl="1" indent="0">
              <a:buNone/>
            </a:pPr>
            <a:r>
              <a:rPr lang="en-US" dirty="0">
                <a:sym typeface="Wingdings" panose="05000000000000000000" pitchFamily="2" charset="2"/>
              </a:rPr>
              <a:t> when the websocket is closed.</a:t>
            </a:r>
            <a:endParaRPr lang="en-US" dirty="0"/>
          </a:p>
          <a:p>
            <a:endParaRPr lang="en-US" dirty="0"/>
          </a:p>
          <a:p>
            <a:r>
              <a:rPr lang="en-US" dirty="0"/>
              <a:t>How do we inform an unresponsive app it is out of sync?</a:t>
            </a:r>
          </a:p>
          <a:p>
            <a:endParaRPr lang="en-US" dirty="0"/>
          </a:p>
          <a:p>
            <a:r>
              <a:rPr lang="en-US" dirty="0"/>
              <a:t>How does a session recover from a sync error?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8817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E0190E-A192-4612-BC9B-5E323E003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ent websocket drop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7E4AD1-36EF-49B5-81AF-045B65053F7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DAC0AB-4A91-455A-B651-F6659C84A1A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90436C-D518-4655-8AB6-61A3BDF024B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11</a:t>
            </a:fld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BA23D5F-600E-4A42-A9C2-5863559CE8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numCol="2"/>
          <a:lstStyle/>
          <a:p>
            <a:r>
              <a:rPr lang="en-US" dirty="0"/>
              <a:t>Application </a:t>
            </a:r>
            <a:r>
              <a:rPr lang="en-US" dirty="0">
                <a:sym typeface="Wingdings" panose="05000000000000000000" pitchFamily="2" charset="2"/>
              </a:rPr>
              <a:t> still things it is connected</a:t>
            </a:r>
          </a:p>
          <a:p>
            <a:r>
              <a:rPr lang="en-US" dirty="0">
                <a:sym typeface="Wingdings" panose="05000000000000000000" pitchFamily="2" charset="2"/>
              </a:rPr>
              <a:t>Hub  resubscribe needed  kicks application  no sync-error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Application knows websocket closed  will resubscribe and connect again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at which point it will be in sync again.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An event send in this time period will not result in a sync error as the dropped application is not part of the topic anymore.</a:t>
            </a:r>
          </a:p>
          <a:p>
            <a:r>
              <a:rPr lang="en-US" dirty="0">
                <a:sym typeface="Wingdings" panose="05000000000000000000" pitchFamily="2" charset="2"/>
              </a:rPr>
              <a:t>From user perspective  it still part of the topic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US" dirty="0">
                <a:sym typeface="Wingdings" panose="05000000000000000000" pitchFamily="2" charset="2"/>
              </a:rPr>
              <a:t>how to handle this?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Different sync-errors</a:t>
            </a:r>
          </a:p>
          <a:p>
            <a:pPr lvl="1"/>
            <a:r>
              <a:rPr lang="en-US" dirty="0"/>
              <a:t>cannot deliver by hub -&gt; higher severity </a:t>
            </a:r>
            <a:r>
              <a:rPr lang="en-US" dirty="0">
                <a:sym typeface="Wingdings" panose="05000000000000000000" pitchFamily="2" charset="2"/>
              </a:rPr>
              <a:t> </a:t>
            </a:r>
          </a:p>
          <a:p>
            <a:pPr lvl="2"/>
            <a:r>
              <a:rPr lang="en-US" dirty="0" err="1">
                <a:sym typeface="Wingdings" panose="05000000000000000000" pitchFamily="2" charset="2"/>
              </a:rPr>
              <a:t>issue.severity</a:t>
            </a:r>
            <a:r>
              <a:rPr lang="en-US" dirty="0">
                <a:sym typeface="Wingdings" panose="05000000000000000000" pitchFamily="2" charset="2"/>
              </a:rPr>
              <a:t> = fatal</a:t>
            </a:r>
          </a:p>
          <a:p>
            <a:pPr lvl="2"/>
            <a:r>
              <a:rPr lang="en-US" dirty="0">
                <a:sym typeface="Wingdings" panose="05000000000000000000" pitchFamily="2" charset="2"/>
              </a:rPr>
              <a:t>rational – hub  cannot do anything. App has to.</a:t>
            </a:r>
            <a:endParaRPr lang="en-US" dirty="0"/>
          </a:p>
          <a:p>
            <a:pPr lvl="1"/>
            <a:r>
              <a:rPr lang="en-US" dirty="0"/>
              <a:t>app refuses</a:t>
            </a:r>
          </a:p>
          <a:p>
            <a:pPr lvl="1"/>
            <a:endParaRPr lang="en-US" dirty="0"/>
          </a:p>
          <a:p>
            <a:r>
              <a:rPr lang="en-US" b="1" dirty="0"/>
              <a:t>Solution direction 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applications SHALL unsubscribe when finishing a topic (or wait for the timeout). If the connection drops in between (e.g. websocket drop) -&gt; a sync-error has to be sent.</a:t>
            </a: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r>
              <a:rPr lang="en-US" b="1" dirty="0">
                <a:sym typeface="Wingdings" panose="05000000000000000000" pitchFamily="2" charset="2"/>
              </a:rPr>
              <a:t>How does an app detect it is not in contact</a:t>
            </a:r>
          </a:p>
          <a:p>
            <a:pPr lvl="1"/>
            <a:r>
              <a:rPr lang="en-US" b="1" dirty="0">
                <a:sym typeface="Wingdings" panose="05000000000000000000" pitchFamily="2" charset="2"/>
              </a:rPr>
              <a:t>edge case -&gt; e.g. network connection to hub lost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dropped websocket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for a webhook – the only way to do so is a heartbeat.</a:t>
            </a:r>
          </a:p>
          <a:p>
            <a:pPr lvl="1"/>
            <a:r>
              <a:rPr lang="en-US" b="1" dirty="0">
                <a:sym typeface="Wingdings" panose="05000000000000000000" pitchFamily="2" charset="2"/>
              </a:rPr>
              <a:t>Proposal: define heartbeat event</a:t>
            </a:r>
          </a:p>
          <a:p>
            <a:pPr lvl="2"/>
            <a:r>
              <a:rPr lang="en-US" b="1" dirty="0">
                <a:sym typeface="Wingdings" panose="05000000000000000000" pitchFamily="2" charset="2"/>
              </a:rPr>
              <a:t>recommend supporting this for webhooks – implementer feedback need for whether this is required for </a:t>
            </a:r>
            <a:r>
              <a:rPr lang="en-US" b="1" dirty="0" err="1">
                <a:sym typeface="Wingdings" panose="05000000000000000000" pitchFamily="2" charset="2"/>
              </a:rPr>
              <a:t>websockets</a:t>
            </a:r>
            <a:r>
              <a:rPr lang="en-US" b="1" dirty="0">
                <a:sym typeface="Wingdings" panose="05000000000000000000" pitchFamily="2" charset="2"/>
              </a:rPr>
              <a:t> as well.</a:t>
            </a:r>
          </a:p>
          <a:p>
            <a:pPr lvl="2"/>
            <a:r>
              <a:rPr lang="en-US" b="1" dirty="0">
                <a:sym typeface="Wingdings" panose="05000000000000000000" pitchFamily="2" charset="2"/>
              </a:rPr>
              <a:t>clients will only get it when subscribing to it.</a:t>
            </a:r>
          </a:p>
          <a:p>
            <a:pPr lvl="2"/>
            <a:r>
              <a:rPr lang="en-US" b="1" dirty="0">
                <a:sym typeface="Wingdings" panose="05000000000000000000" pitchFamily="2" charset="2"/>
              </a:rPr>
              <a:t>proposed time period ~10 sec | an order of magnitude lower than the subscription timeout.</a:t>
            </a:r>
          </a:p>
          <a:p>
            <a:endParaRPr lang="en-US" b="1" dirty="0"/>
          </a:p>
          <a:p>
            <a:r>
              <a:rPr lang="en-US" b="1" dirty="0"/>
              <a:t>related topic -&gt; can I use the extend the events supported by a hub from an application?</a:t>
            </a:r>
          </a:p>
          <a:p>
            <a:pPr lvl="1"/>
            <a:r>
              <a:rPr lang="en-US" b="1" dirty="0"/>
              <a:t>topic for next Connecthaton?</a:t>
            </a:r>
          </a:p>
        </p:txBody>
      </p:sp>
    </p:spTree>
    <p:extLst>
      <p:ext uri="{BB962C8B-B14F-4D97-AF65-F5344CB8AC3E}">
        <p14:creationId xmlns:p14="http://schemas.microsoft.com/office/powerpoint/2010/main" val="2554372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4ACB08-0F7C-4642-9BF3-0134E19606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a session recover from a sync error?</a:t>
            </a:r>
            <a:br>
              <a:rPr lang="en-US" dirty="0"/>
            </a:b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2F360F-08D9-4BA7-BBCE-A0A01FE7851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341EF4B-512B-40AB-8C56-CE97879F868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2CCD45-8301-4419-839C-34D4D2054EF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3CE0E98-5856-4F10-8D1C-7C12230258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Do nothing</a:t>
            </a:r>
          </a:p>
          <a:p>
            <a:pPr lvl="1"/>
            <a:r>
              <a:rPr lang="en-US" dirty="0"/>
              <a:t>applications know do are out of sync</a:t>
            </a:r>
          </a:p>
          <a:p>
            <a:pPr lvl="2"/>
            <a:r>
              <a:rPr lang="en-US" dirty="0"/>
              <a:t>choice of the app</a:t>
            </a:r>
          </a:p>
          <a:p>
            <a:pPr lvl="2"/>
            <a:r>
              <a:rPr lang="en-US" dirty="0"/>
              <a:t>network issue</a:t>
            </a:r>
          </a:p>
          <a:p>
            <a:pPr lvl="1"/>
            <a:r>
              <a:rPr lang="en-US" dirty="0"/>
              <a:t>they are until a new context change is send</a:t>
            </a:r>
          </a:p>
          <a:p>
            <a:endParaRPr lang="en-US" dirty="0"/>
          </a:p>
          <a:p>
            <a:r>
              <a:rPr lang="en-US" b="1" dirty="0"/>
              <a:t>SHOULD resend context-change on sync-error by the source application.</a:t>
            </a:r>
          </a:p>
          <a:p>
            <a:pPr lvl="1"/>
            <a:r>
              <a:rPr lang="en-US" b="1" dirty="0"/>
              <a:t>if it succeeds -  all is well again.</a:t>
            </a:r>
          </a:p>
          <a:p>
            <a:pPr lvl="1"/>
            <a:r>
              <a:rPr lang="en-US" b="1" dirty="0"/>
              <a:t>time period =&gt; 10 sec?</a:t>
            </a:r>
          </a:p>
          <a:p>
            <a:pPr lvl="1"/>
            <a:r>
              <a:rPr lang="en-US" b="1" dirty="0"/>
              <a:t>race condition when a context-chance is sent by a different application -&gt; use time stamp of original event.</a:t>
            </a:r>
          </a:p>
          <a:p>
            <a:pPr lvl="1"/>
            <a:endParaRPr lang="en-US" dirty="0"/>
          </a:p>
          <a:p>
            <a:r>
              <a:rPr lang="en-US" strike="sngStrike" dirty="0"/>
              <a:t>Resend context-change on sync-error by the hub.</a:t>
            </a:r>
          </a:p>
          <a:p>
            <a:pPr lvl="1"/>
            <a:r>
              <a:rPr lang="en-US" strike="sngStrike" dirty="0"/>
              <a:t>if it succeeds -  all is well again.</a:t>
            </a:r>
          </a:p>
          <a:p>
            <a:pPr lvl="1"/>
            <a:r>
              <a:rPr lang="en-US" strike="sngStrike" dirty="0"/>
              <a:t>time period =&gt; 10 sec?</a:t>
            </a:r>
          </a:p>
          <a:p>
            <a:pPr lvl="1"/>
            <a:r>
              <a:rPr lang="en-US" strike="sngStrike" dirty="0"/>
              <a:t>event = last event of the type (reuse event including timestamp).</a:t>
            </a:r>
          </a:p>
          <a:p>
            <a:endParaRPr lang="en-US" dirty="0"/>
          </a:p>
          <a:p>
            <a:r>
              <a:rPr lang="en-US" b="1" dirty="0"/>
              <a:t>Applications SHALL be able to receive resends of the same event, even at a later point in time, and handle it appropriately. </a:t>
            </a:r>
          </a:p>
          <a:p>
            <a:pPr lvl="1"/>
            <a:r>
              <a:rPr lang="en-US" b="1" dirty="0"/>
              <a:t>(check time stamp later than last, check if it changes the context or restates it)</a:t>
            </a:r>
          </a:p>
        </p:txBody>
      </p:sp>
    </p:spTree>
    <p:extLst>
      <p:ext uri="{BB962C8B-B14F-4D97-AF65-F5344CB8AC3E}">
        <p14:creationId xmlns:p14="http://schemas.microsoft.com/office/powerpoint/2010/main" val="1179794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4ACB08-0F7C-4642-9BF3-0134E19606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 we interoperable identify apps?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2F360F-08D9-4BA7-BBCE-A0A01FE7851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341EF4B-512B-40AB-8C56-CE97879F868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2CCD45-8301-4419-839C-34D4D2054EF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3CE0E98-5856-4F10-8D1C-7C12230258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numCol="2">
            <a:normAutofit/>
          </a:bodyPr>
          <a:lstStyle/>
          <a:p>
            <a:r>
              <a:rPr lang="en-US" dirty="0"/>
              <a:t>How do we interoperable identify apps?</a:t>
            </a:r>
          </a:p>
          <a:p>
            <a:pPr lvl="1"/>
            <a:r>
              <a:rPr lang="en-US" dirty="0"/>
              <a:t>which send an event</a:t>
            </a:r>
          </a:p>
          <a:p>
            <a:pPr lvl="1"/>
            <a:r>
              <a:rPr lang="en-US" dirty="0"/>
              <a:t>which participate in a session</a:t>
            </a:r>
          </a:p>
          <a:p>
            <a:pPr lvl="1"/>
            <a:endParaRPr lang="en-US" b="1" dirty="0"/>
          </a:p>
          <a:p>
            <a:r>
              <a:rPr lang="en-US" dirty="0"/>
              <a:t>With </a:t>
            </a:r>
            <a:r>
              <a:rPr lang="en-US" dirty="0" err="1"/>
              <a:t>Oauth</a:t>
            </a:r>
            <a:r>
              <a:rPr lang="en-US" dirty="0"/>
              <a:t> and Smart </a:t>
            </a:r>
            <a:r>
              <a:rPr lang="en-US" dirty="0">
                <a:sym typeface="Wingdings" panose="05000000000000000000" pitchFamily="2" charset="2"/>
              </a:rPr>
              <a:t> client-id machine readable identifier.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most authorization servers will have a human readable name as well.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Alternative  add human readable name to subscribe.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Solution options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do noting</a:t>
            </a:r>
          </a:p>
          <a:p>
            <a:pPr lvl="1"/>
            <a:r>
              <a:rPr lang="en-US" b="1" dirty="0">
                <a:sym typeface="Wingdings" panose="05000000000000000000" pitchFamily="2" charset="2"/>
              </a:rPr>
              <a:t>Smart/OAuth option</a:t>
            </a:r>
          </a:p>
          <a:p>
            <a:pPr lvl="1"/>
            <a:r>
              <a:rPr lang="en-US" b="1" dirty="0">
                <a:sym typeface="Wingdings" panose="05000000000000000000" pitchFamily="2" charset="2"/>
              </a:rPr>
              <a:t>subscribe contains name (optional short human readable name)</a:t>
            </a:r>
          </a:p>
          <a:p>
            <a:pPr lvl="1"/>
            <a:r>
              <a:rPr lang="en-US" b="1" dirty="0">
                <a:sym typeface="Wingdings" panose="05000000000000000000" pitchFamily="2" charset="2"/>
              </a:rPr>
              <a:t>smart and subscribe data</a:t>
            </a:r>
          </a:p>
          <a:p>
            <a:r>
              <a:rPr lang="en-US" b="1" dirty="0">
                <a:sym typeface="Wingdings" panose="05000000000000000000" pitchFamily="2" charset="2"/>
              </a:rPr>
              <a:t>AP </a:t>
            </a:r>
            <a:r>
              <a:rPr lang="en-US" b="1" dirty="0" err="1">
                <a:sym typeface="Wingdings" panose="05000000000000000000" pitchFamily="2" charset="2"/>
              </a:rPr>
              <a:t>BvdH</a:t>
            </a:r>
            <a:r>
              <a:rPr lang="en-US" b="1" dirty="0">
                <a:sym typeface="Wingdings" panose="05000000000000000000" pitchFamily="2" charset="2"/>
              </a:rPr>
              <a:t> -&gt; write PR</a:t>
            </a:r>
          </a:p>
          <a:p>
            <a:endParaRPr lang="en-US" dirty="0"/>
          </a:p>
          <a:p>
            <a:r>
              <a:rPr lang="en-US" dirty="0"/>
              <a:t>Do we need to have a list -&gt; when would this be required? Is this a techie/admin use case or something the end-user really care about?</a:t>
            </a:r>
          </a:p>
          <a:p>
            <a:pPr lvl="1"/>
            <a:r>
              <a:rPr lang="en-US" dirty="0"/>
              <a:t>further homework needed.</a:t>
            </a:r>
          </a:p>
        </p:txBody>
      </p:sp>
    </p:spTree>
    <p:extLst>
      <p:ext uri="{BB962C8B-B14F-4D97-AF65-F5344CB8AC3E}">
        <p14:creationId xmlns:p14="http://schemas.microsoft.com/office/powerpoint/2010/main" val="2352911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0541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F74D3F-FA9D-1545-9223-A66D9DF91A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rmal Behavio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2BCF7F-0BC9-9E4E-BAE1-F42EA11E7DB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B9B8DDD-D3D1-2E41-9989-94AF51BDD9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453516-47E5-2E47-B693-539F7BE158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2</a:t>
            </a:fld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F30DCEE-FEE9-2A46-95CE-0BC8727EF14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pplication sends context-change (open, close).</a:t>
            </a:r>
          </a:p>
          <a:p>
            <a:pPr lvl="1"/>
            <a:r>
              <a:rPr lang="en-US" dirty="0"/>
              <a:t>All applications respond with 200 OK.</a:t>
            </a:r>
          </a:p>
          <a:p>
            <a:endParaRPr lang="en-US" dirty="0"/>
          </a:p>
          <a:p>
            <a:r>
              <a:rPr lang="en-US" dirty="0"/>
              <a:t>Everyone is in synch.</a:t>
            </a:r>
          </a:p>
        </p:txBody>
      </p:sp>
    </p:spTree>
    <p:extLst>
      <p:ext uri="{BB962C8B-B14F-4D97-AF65-F5344CB8AC3E}">
        <p14:creationId xmlns:p14="http://schemas.microsoft.com/office/powerpoint/2010/main" val="399677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62F2D6-0393-4CE0-962D-E2BC1D852B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e application is not s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D6B6A1-1557-4F37-86A0-706E3CE98CC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26AE93-EC57-4434-8A0D-2830724E1CC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A89515-3A6D-4FB1-9B7C-3D129DEC447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3</a:t>
            </a:fld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945E297-0C39-4C7C-B3F5-6AB056C0A6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Application A sends context-change (open, close).</a:t>
            </a:r>
          </a:p>
          <a:p>
            <a:pPr marL="411480" lvl="1" indent="-228600">
              <a:buFont typeface="+mj-lt"/>
              <a:buAutoNum type="arabicPeriod"/>
            </a:pPr>
            <a:r>
              <a:rPr lang="en-US" dirty="0"/>
              <a:t>Application B responds with 200 OK.</a:t>
            </a:r>
          </a:p>
          <a:p>
            <a:pPr marL="411480" lvl="1" indent="-228600">
              <a:buFont typeface="+mj-lt"/>
              <a:buAutoNum type="arabicPeriod"/>
            </a:pPr>
            <a:r>
              <a:rPr lang="en-US" dirty="0"/>
              <a:t>Application C respond with 202 Accepted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pplication C decides to follow and does not send a </a:t>
            </a:r>
            <a:r>
              <a:rPr lang="en-US" dirty="0" err="1"/>
              <a:t>SyncError</a:t>
            </a: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Everyone is in sync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3EFA7D2-A5D4-4582-9304-F403000CFD96}"/>
              </a:ext>
            </a:extLst>
          </p:cNvPr>
          <p:cNvSpPr/>
          <p:nvPr/>
        </p:nvSpPr>
        <p:spPr>
          <a:xfrm>
            <a:off x="4811506" y="2800350"/>
            <a:ext cx="3836988" cy="91440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s this the behavior we expect? The 202 seams to suggest something more is coming.</a:t>
            </a:r>
          </a:p>
        </p:txBody>
      </p:sp>
    </p:spTree>
    <p:extLst>
      <p:ext uri="{BB962C8B-B14F-4D97-AF65-F5344CB8AC3E}">
        <p14:creationId xmlns:p14="http://schemas.microsoft.com/office/powerpoint/2010/main" val="2118870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E4C08A-0F3E-44B4-9124-D3E3B72094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ne application refuses.</a:t>
            </a:r>
            <a:br>
              <a:rPr lang="en-US" b="1" dirty="0"/>
            </a:b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580E4B5-8093-40BC-A42E-C60494C859CA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2E7658-1495-4243-8B7F-463AE5C1036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0A5406-369E-4DFB-8951-FBFBFC77369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4</a:t>
            </a:fld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F14AB45-CD49-4D19-B4E9-17DCAD84DB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Application A sends context-change (open, close).</a:t>
            </a:r>
          </a:p>
          <a:p>
            <a:pPr marL="518940" lvl="1" indent="-342900">
              <a:buFont typeface="+mj-lt"/>
              <a:buAutoNum type="arabicPeriod"/>
            </a:pPr>
            <a:r>
              <a:rPr lang="en-US" dirty="0"/>
              <a:t>Application B responds with 200 OK.</a:t>
            </a:r>
          </a:p>
          <a:p>
            <a:pPr marL="518940" lvl="1" indent="-342900">
              <a:buFont typeface="+mj-lt"/>
              <a:buAutoNum type="arabicPeriod"/>
            </a:pPr>
            <a:r>
              <a:rPr lang="en-US" dirty="0"/>
              <a:t>Application C respond with ????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Hub sends sync-error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Everyone knows synchronization is lost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543491F-C4E6-4703-AA9B-CFE8193204BF}"/>
              </a:ext>
            </a:extLst>
          </p:cNvPr>
          <p:cNvSpPr/>
          <p:nvPr/>
        </p:nvSpPr>
        <p:spPr>
          <a:xfrm>
            <a:off x="5068888" y="1095375"/>
            <a:ext cx="3836988" cy="114300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92500"/>
          </a:bodyPr>
          <a:lstStyle/>
          <a:p>
            <a:r>
              <a:rPr lang="en-US" dirty="0"/>
              <a:t>What error code to return by the client?</a:t>
            </a:r>
          </a:p>
          <a:p>
            <a:r>
              <a:rPr lang="en-US" dirty="0"/>
              <a:t> 500 - Server error - client issue</a:t>
            </a:r>
          </a:p>
          <a:p>
            <a:r>
              <a:rPr lang="en-US" dirty="0"/>
              <a:t> 409 - Conflict - client is in conflict - refuses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D2D3A227-E96A-478D-8786-281A71F27FE0}"/>
              </a:ext>
            </a:extLst>
          </p:cNvPr>
          <p:cNvSpPr/>
          <p:nvPr/>
        </p:nvSpPr>
        <p:spPr>
          <a:xfrm>
            <a:off x="3429000" y="1581150"/>
            <a:ext cx="1600200" cy="304800"/>
          </a:xfrm>
          <a:prstGeom prst="rightArrow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04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E4C08A-0F3E-44B4-9124-D3E3B72094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ne application is not sure and refus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580E4B5-8093-40BC-A42E-C60494C859CA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2E7658-1495-4243-8B7F-463AE5C1036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0A5406-369E-4DFB-8951-FBFBFC77369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5</a:t>
            </a:fld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F14AB45-CD49-4D19-B4E9-17DCAD84DB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Application A sends context-change (open, close).</a:t>
            </a:r>
          </a:p>
          <a:p>
            <a:pPr marL="518940" lvl="1" indent="-342900">
              <a:buFont typeface="+mj-lt"/>
              <a:buAutoNum type="arabicPeriod"/>
            </a:pPr>
            <a:r>
              <a:rPr lang="en-US" dirty="0"/>
              <a:t>Application B responds with 200 OK.</a:t>
            </a:r>
          </a:p>
          <a:p>
            <a:pPr marL="518940" lvl="1" indent="-342900">
              <a:buFont typeface="+mj-lt"/>
              <a:buAutoNum type="arabicPeriod"/>
            </a:pPr>
            <a:r>
              <a:rPr lang="en-US" dirty="0"/>
              <a:t>Application C respond with 202 Accepted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pplication C decides to not to follow and sends a </a:t>
            </a:r>
            <a:r>
              <a:rPr lang="en-US" dirty="0" err="1"/>
              <a:t>SyncError</a:t>
            </a: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Everyone knows synchronization is lost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In this case the Application decides to send the sync-error and can inject meaningful information, such as the application that refuses. This will go in the </a:t>
            </a:r>
            <a:r>
              <a:rPr lang="en-US" dirty="0" err="1"/>
              <a:t>issue.diagnostics</a:t>
            </a:r>
            <a:r>
              <a:rPr lang="en-US" dirty="0"/>
              <a:t> field.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567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E4C08A-0F3E-44B4-9124-D3E3B72094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n application can no longer be reached (dead or lost network)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580E4B5-8093-40BC-A42E-C60494C859CA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2E7658-1495-4243-8B7F-463AE5C1036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0A5406-369E-4DFB-8951-FBFBFC77369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6</a:t>
            </a:fld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F14AB45-CD49-4D19-B4E9-17DCAD84DB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3836989" cy="3484800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Application A sends context-change (open, close).</a:t>
            </a:r>
          </a:p>
          <a:p>
            <a:pPr marL="518940" lvl="1" indent="-342900">
              <a:buFont typeface="+mj-lt"/>
              <a:buAutoNum type="arabicPeriod"/>
            </a:pPr>
            <a:r>
              <a:rPr lang="en-US" dirty="0"/>
              <a:t>Application B responds with 200 OK.</a:t>
            </a:r>
          </a:p>
          <a:p>
            <a:pPr marL="518940" lvl="1" indent="-342900">
              <a:buFont typeface="+mj-lt"/>
              <a:buAutoNum type="arabicPeriod"/>
            </a:pPr>
            <a:r>
              <a:rPr lang="en-US" dirty="0"/>
              <a:t>Application C cannot be reached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Hub sends sync-error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Everyone (except for App C) knows synchronization is lost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nly the hub can tell which one - how do present this in a meaningful manner?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F797611-2FFD-4F31-960D-893B78F64D27}"/>
              </a:ext>
            </a:extLst>
          </p:cNvPr>
          <p:cNvSpPr/>
          <p:nvPr/>
        </p:nvSpPr>
        <p:spPr>
          <a:xfrm>
            <a:off x="4341814" y="812550"/>
            <a:ext cx="4732117" cy="961209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r>
              <a:rPr lang="en-US" sz="1400" b="1" dirty="0"/>
              <a:t>How can App C detect synchronization is los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Websocket connection los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No event received in xx time -&gt; suggest to add a heartbeat/monitor event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E0745C2-F7A0-448D-863D-27DC0313A576}"/>
              </a:ext>
            </a:extLst>
          </p:cNvPr>
          <p:cNvSpPr/>
          <p:nvPr/>
        </p:nvSpPr>
        <p:spPr>
          <a:xfrm>
            <a:off x="4341814" y="1809749"/>
            <a:ext cx="4732117" cy="1980689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r>
              <a:rPr lang="en-US" sz="1400" b="1" dirty="0"/>
              <a:t>How to recover from this state?</a:t>
            </a:r>
          </a:p>
          <a:p>
            <a:r>
              <a:rPr lang="en-US" sz="1200" dirty="0"/>
              <a:t>Options: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200" dirty="0"/>
              <a:t>Do not recover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200" dirty="0"/>
              <a:t>Wait until subscription time-out. If no re-subscribe happens, a resent of the context-change event will succeed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200" dirty="0"/>
              <a:t>App C reconnects - context-change is resend - event is accepted - hub decides all is in sync -&gt; how to indicate. Resend context-change event? Will introduce a race condition. Better wait on App A to resend it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6E75EA8-BF25-45E6-8E58-F44AE0F09499}"/>
              </a:ext>
            </a:extLst>
          </p:cNvPr>
          <p:cNvSpPr/>
          <p:nvPr/>
        </p:nvSpPr>
        <p:spPr>
          <a:xfrm>
            <a:off x="4341813" y="3871560"/>
            <a:ext cx="4732117" cy="114300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r>
              <a:rPr lang="en-US" sz="1400" b="1" dirty="0"/>
              <a:t>hub is down</a:t>
            </a:r>
          </a:p>
          <a:p>
            <a:r>
              <a:rPr lang="en-US" sz="1200" dirty="0"/>
              <a:t>Applications can detect this using the heartbeat, websocket disconnect.</a:t>
            </a:r>
          </a:p>
          <a:p>
            <a:endParaRPr lang="en-US" sz="1200" dirty="0"/>
          </a:p>
          <a:p>
            <a:r>
              <a:rPr lang="en-US" sz="1200" dirty="0"/>
              <a:t>Indicate sync-error situation. Try to resubscribe. When Hub is up again, resync.</a:t>
            </a:r>
          </a:p>
        </p:txBody>
      </p:sp>
    </p:spTree>
    <p:extLst>
      <p:ext uri="{BB962C8B-B14F-4D97-AF65-F5344CB8AC3E}">
        <p14:creationId xmlns:p14="http://schemas.microsoft.com/office/powerpoint/2010/main" val="2447738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F8D60A-B702-46EA-A5E0-4DFDCE5B60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ich applications are connected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C48DC4F-D1F1-4598-8EC8-DA14D0A4FE8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E8035D-1DBA-4945-9441-3014448CC27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7BD9EB-3553-469C-9757-E1E704E399D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7</a:t>
            </a:fld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A58F2DD-B96D-49CB-A8DC-894D6C7EF4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5667375" cy="348480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How do I know which applications are synced?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Within an session:</a:t>
            </a:r>
          </a:p>
          <a:p>
            <a:pPr marL="176040" lvl="1" indent="0">
              <a:buNone/>
            </a:pPr>
            <a:r>
              <a:rPr lang="en-US" dirty="0"/>
              <a:t>Tracking of the state of the different applications can only be done when an sync-error occurs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Can I also provide a list of registered applications and their state?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ptions:</a:t>
            </a:r>
          </a:p>
          <a:p>
            <a:r>
              <a:rPr lang="en-US" dirty="0"/>
              <a:t>endpoint</a:t>
            </a:r>
          </a:p>
          <a:p>
            <a:r>
              <a:rPr lang="en-US" dirty="0"/>
              <a:t>separate event</a:t>
            </a:r>
          </a:p>
          <a:p>
            <a:endParaRPr lang="en-US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9C777EDD-4083-49A3-9399-44B25AE79CAD}"/>
              </a:ext>
            </a:extLst>
          </p:cNvPr>
          <p:cNvSpPr/>
          <p:nvPr/>
        </p:nvSpPr>
        <p:spPr>
          <a:xfrm>
            <a:off x="6553200" y="754063"/>
            <a:ext cx="2438400" cy="914400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>
            <a:normAutofit/>
          </a:bodyPr>
          <a:lstStyle/>
          <a:p>
            <a:r>
              <a:rPr lang="en-US" b="1" dirty="0"/>
              <a:t>Recommendation: </a:t>
            </a:r>
          </a:p>
          <a:p>
            <a:r>
              <a:rPr lang="en-US" dirty="0"/>
              <a:t>show current topic</a:t>
            </a:r>
          </a:p>
        </p:txBody>
      </p:sp>
    </p:spTree>
    <p:extLst>
      <p:ext uri="{BB962C8B-B14F-4D97-AF65-F5344CB8AC3E}">
        <p14:creationId xmlns:p14="http://schemas.microsoft.com/office/powerpoint/2010/main" val="2419688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3F5077-CD56-48F5-A01F-336945E1C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nc error conten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F43A477-CF13-4A0C-814B-FD66BE999F8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6C7D3-B0FB-48C0-98F1-7353310691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9C750C-2E96-4372-8857-C4EB7EFCE18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8FD98C7-CFC4-4B0F-AEB2-59D0B827E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5" y="1211263"/>
            <a:ext cx="3838575" cy="3484800"/>
          </a:xfrm>
        </p:spPr>
        <p:txBody>
          <a:bodyPr numCol="1"/>
          <a:lstStyle/>
          <a:p>
            <a:r>
              <a:rPr lang="en-US" dirty="0">
                <a:hlinkClick r:id="rId2"/>
              </a:rPr>
              <a:t>https://fhircast.org/events/syncerror/</a:t>
            </a:r>
            <a:r>
              <a:rPr lang="en-US" dirty="0"/>
              <a:t> 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sz="1050" dirty="0">
                <a:highlight>
                  <a:srgbClr val="C0C0C0"/>
                </a:highlight>
              </a:rPr>
              <a:t>FHIR resource describing an outcome of an unsuccessful system action. The </a:t>
            </a:r>
            <a:r>
              <a:rPr lang="en-US" sz="1050" dirty="0" err="1">
                <a:highlight>
                  <a:srgbClr val="C0C0C0"/>
                </a:highlight>
              </a:rPr>
              <a:t>OperationOutcome</a:t>
            </a:r>
            <a:r>
              <a:rPr lang="en-US" sz="1050" dirty="0">
                <a:highlight>
                  <a:srgbClr val="C0C0C0"/>
                </a:highlight>
              </a:rPr>
              <a:t> SHALL use a code of processing. The </a:t>
            </a:r>
            <a:r>
              <a:rPr lang="en-US" sz="1050" dirty="0" err="1">
                <a:highlight>
                  <a:srgbClr val="C0C0C0"/>
                </a:highlight>
              </a:rPr>
              <a:t>OperationOutcome's</a:t>
            </a:r>
            <a:r>
              <a:rPr lang="en-US" sz="1050" dirty="0">
                <a:highlight>
                  <a:srgbClr val="C0C0C0"/>
                </a:highlight>
              </a:rPr>
              <a:t> </a:t>
            </a:r>
            <a:r>
              <a:rPr lang="en-US" sz="1050" dirty="0" err="1">
                <a:highlight>
                  <a:srgbClr val="C0C0C0"/>
                </a:highlight>
              </a:rPr>
              <a:t>details.coding.code</a:t>
            </a:r>
            <a:r>
              <a:rPr lang="en-US" sz="1050" dirty="0">
                <a:highlight>
                  <a:srgbClr val="C0C0C0"/>
                </a:highlight>
              </a:rPr>
              <a:t> SHALL contain the id of the event that this error is related to as a code with the system value of "https://fhircast.hl7.org/events/</a:t>
            </a:r>
            <a:r>
              <a:rPr lang="en-US" sz="1050" dirty="0" err="1">
                <a:highlight>
                  <a:srgbClr val="C0C0C0"/>
                </a:highlight>
              </a:rPr>
              <a:t>syncerror</a:t>
            </a:r>
            <a:r>
              <a:rPr lang="en-US" sz="1050" dirty="0">
                <a:highlight>
                  <a:srgbClr val="C0C0C0"/>
                </a:highlight>
              </a:rPr>
              <a:t>/</a:t>
            </a:r>
            <a:r>
              <a:rPr lang="en-US" sz="1050" dirty="0" err="1">
                <a:highlight>
                  <a:srgbClr val="C0C0C0"/>
                </a:highlight>
              </a:rPr>
              <a:t>eventid</a:t>
            </a:r>
            <a:r>
              <a:rPr lang="en-US" sz="1050" dirty="0">
                <a:highlight>
                  <a:srgbClr val="C0C0C0"/>
                </a:highlight>
              </a:rPr>
              <a:t>" and the name of the relevant event with a system value of "https://fhircast.hl7.org/events/</a:t>
            </a:r>
            <a:r>
              <a:rPr lang="en-US" sz="1050" dirty="0" err="1">
                <a:highlight>
                  <a:srgbClr val="C0C0C0"/>
                </a:highlight>
              </a:rPr>
              <a:t>syncerror</a:t>
            </a:r>
            <a:r>
              <a:rPr lang="en-US" sz="1050" dirty="0">
                <a:highlight>
                  <a:srgbClr val="C0C0C0"/>
                </a:highlight>
              </a:rPr>
              <a:t>/</a:t>
            </a:r>
            <a:r>
              <a:rPr lang="en-US" sz="1050" dirty="0" err="1">
                <a:highlight>
                  <a:srgbClr val="C0C0C0"/>
                </a:highlight>
              </a:rPr>
              <a:t>eventname</a:t>
            </a:r>
            <a:r>
              <a:rPr lang="en-US" sz="1050" dirty="0">
                <a:highlight>
                  <a:srgbClr val="C0C0C0"/>
                </a:highlight>
              </a:rPr>
              <a:t>" . Other coding values can be included with different system values so as to include extra information about the </a:t>
            </a:r>
            <a:r>
              <a:rPr lang="en-US" sz="1050" dirty="0" err="1">
                <a:highlight>
                  <a:srgbClr val="C0C0C0"/>
                </a:highlight>
              </a:rPr>
              <a:t>syncerror</a:t>
            </a:r>
            <a:r>
              <a:rPr lang="en-US" sz="1050" dirty="0">
                <a:highlight>
                  <a:srgbClr val="C0C0C0"/>
                </a:highlight>
              </a:rPr>
              <a:t>.</a:t>
            </a:r>
          </a:p>
          <a:p>
            <a:endParaRPr lang="en-US" dirty="0"/>
          </a:p>
          <a:p>
            <a:r>
              <a:rPr lang="en-US" dirty="0">
                <a:hlinkClick r:id="rId3"/>
              </a:rPr>
              <a:t>https://www.hl7.org/fhir/valueset-issue-type.html</a:t>
            </a:r>
            <a:r>
              <a:rPr lang="en-US" dirty="0"/>
              <a:t>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9BE74CB-1BB4-4403-AA24-AE30DD7CBD9E}"/>
              </a:ext>
            </a:extLst>
          </p:cNvPr>
          <p:cNvSpPr/>
          <p:nvPr/>
        </p:nvSpPr>
        <p:spPr>
          <a:xfrm>
            <a:off x="4648200" y="1211263"/>
            <a:ext cx="4343400" cy="2276713"/>
          </a:xfrm>
          <a:prstGeom prst="roundRect">
            <a:avLst>
              <a:gd name="adj" fmla="val 3368"/>
            </a:avLst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 anchor="ctr">
            <a:normAutofit/>
          </a:bodyPr>
          <a:lstStyle/>
          <a:p>
            <a:r>
              <a:rPr lang="en-US" sz="900" dirty="0"/>
              <a:t>Instance: </a:t>
            </a:r>
            <a:r>
              <a:rPr lang="en-US" sz="900" dirty="0" err="1"/>
              <a:t>SyncErrorOperationOutcome</a:t>
            </a:r>
            <a:endParaRPr lang="en-US" sz="900" dirty="0"/>
          </a:p>
          <a:p>
            <a:r>
              <a:rPr lang="en-US" sz="900" dirty="0" err="1"/>
              <a:t>InstanceOf</a:t>
            </a:r>
            <a:r>
              <a:rPr lang="en-US" sz="900" dirty="0"/>
              <a:t>: </a:t>
            </a:r>
            <a:r>
              <a:rPr lang="en-US" sz="900" dirty="0" err="1"/>
              <a:t>OperationOutcome</a:t>
            </a:r>
            <a:endParaRPr lang="en-US" sz="900" dirty="0"/>
          </a:p>
          <a:p>
            <a:r>
              <a:rPr lang="en-US" sz="900" dirty="0"/>
              <a:t>* </a:t>
            </a:r>
            <a:r>
              <a:rPr lang="en-US" sz="900" dirty="0" err="1"/>
              <a:t>issue.severity</a:t>
            </a:r>
            <a:r>
              <a:rPr lang="en-US" sz="900" dirty="0"/>
              <a:t> = "warning"</a:t>
            </a:r>
          </a:p>
          <a:p>
            <a:r>
              <a:rPr lang="en-US" sz="900" dirty="0"/>
              <a:t>* </a:t>
            </a:r>
            <a:r>
              <a:rPr lang="en-US" sz="900" dirty="0" err="1"/>
              <a:t>issue.code</a:t>
            </a:r>
            <a:r>
              <a:rPr lang="en-US" sz="900" dirty="0"/>
              <a:t>     = "processing"</a:t>
            </a:r>
          </a:p>
          <a:p>
            <a:r>
              <a:rPr lang="en-US" sz="900" dirty="0"/>
              <a:t>* </a:t>
            </a:r>
            <a:r>
              <a:rPr lang="en-US" sz="900" dirty="0" err="1"/>
              <a:t>issue.diagnostics</a:t>
            </a:r>
            <a:r>
              <a:rPr lang="en-US" sz="900" dirty="0"/>
              <a:t> = "AppId3456 failed to follow context" // where does this information come from?</a:t>
            </a:r>
          </a:p>
          <a:p>
            <a:r>
              <a:rPr lang="en-US" sz="900" dirty="0"/>
              <a:t>* </a:t>
            </a:r>
            <a:r>
              <a:rPr lang="en-US" sz="900" dirty="0" err="1"/>
              <a:t>issue.details</a:t>
            </a:r>
            <a:r>
              <a:rPr lang="en-US" sz="900" dirty="0"/>
              <a:t>[+].</a:t>
            </a:r>
            <a:r>
              <a:rPr lang="en-US" sz="900" dirty="0" err="1"/>
              <a:t>coding.system</a:t>
            </a:r>
            <a:r>
              <a:rPr lang="en-US" sz="900" dirty="0"/>
              <a:t> = "https://fhircast.hl7.org/events/</a:t>
            </a:r>
            <a:r>
              <a:rPr lang="en-US" sz="900" dirty="0" err="1"/>
              <a:t>syncerror</a:t>
            </a:r>
            <a:r>
              <a:rPr lang="en-US" sz="900" dirty="0"/>
              <a:t>/</a:t>
            </a:r>
            <a:r>
              <a:rPr lang="en-US" sz="900" dirty="0" err="1"/>
              <a:t>eventid</a:t>
            </a:r>
            <a:r>
              <a:rPr lang="en-US" sz="900" dirty="0"/>
              <a:t>"</a:t>
            </a:r>
          </a:p>
          <a:p>
            <a:r>
              <a:rPr lang="en-US" sz="900" dirty="0"/>
              <a:t>* </a:t>
            </a:r>
            <a:r>
              <a:rPr lang="en-US" sz="900" dirty="0" err="1"/>
              <a:t>issue.details</a:t>
            </a:r>
            <a:r>
              <a:rPr lang="en-US" sz="900" dirty="0"/>
              <a:t>[=].</a:t>
            </a:r>
            <a:r>
              <a:rPr lang="en-US" sz="900" dirty="0" err="1"/>
              <a:t>coding.code</a:t>
            </a:r>
            <a:r>
              <a:rPr lang="en-US" sz="900" dirty="0"/>
              <a:t>   = "fdb2f928-5546-4f52-87a0-0648e9ded065"</a:t>
            </a:r>
          </a:p>
          <a:p>
            <a:r>
              <a:rPr lang="en-US" sz="900" dirty="0"/>
              <a:t>* </a:t>
            </a:r>
            <a:r>
              <a:rPr lang="en-US" sz="900" dirty="0" err="1"/>
              <a:t>issue.details</a:t>
            </a:r>
            <a:r>
              <a:rPr lang="en-US" sz="900" dirty="0"/>
              <a:t>[+].</a:t>
            </a:r>
            <a:r>
              <a:rPr lang="en-US" sz="900" dirty="0" err="1"/>
              <a:t>coding.system</a:t>
            </a:r>
            <a:r>
              <a:rPr lang="en-US" sz="900" dirty="0"/>
              <a:t> = "https://fhircast.hl7.org/events/</a:t>
            </a:r>
            <a:r>
              <a:rPr lang="en-US" sz="900" dirty="0" err="1"/>
              <a:t>syncerror</a:t>
            </a:r>
            <a:r>
              <a:rPr lang="en-US" sz="900" dirty="0"/>
              <a:t>/</a:t>
            </a:r>
            <a:r>
              <a:rPr lang="en-US" sz="900" dirty="0" err="1"/>
              <a:t>eventname</a:t>
            </a:r>
            <a:r>
              <a:rPr lang="en-US" sz="900" dirty="0"/>
              <a:t>"</a:t>
            </a:r>
          </a:p>
          <a:p>
            <a:r>
              <a:rPr lang="en-US" sz="900" dirty="0"/>
              <a:t>* </a:t>
            </a:r>
            <a:r>
              <a:rPr lang="en-US" sz="900" dirty="0" err="1"/>
              <a:t>issue.details</a:t>
            </a:r>
            <a:r>
              <a:rPr lang="en-US" sz="900" dirty="0"/>
              <a:t>[=].</a:t>
            </a:r>
            <a:r>
              <a:rPr lang="en-US" sz="900" dirty="0" err="1"/>
              <a:t>coding.code</a:t>
            </a:r>
            <a:r>
              <a:rPr lang="en-US" sz="900" dirty="0"/>
              <a:t>   = "patient-open"</a:t>
            </a:r>
          </a:p>
          <a:p>
            <a:r>
              <a:rPr lang="en-US" sz="900" dirty="0" err="1"/>
              <a:t>isue.code.diagnostics</a:t>
            </a:r>
            <a:endParaRPr lang="en-US" sz="900" dirty="0"/>
          </a:p>
          <a:p>
            <a:r>
              <a:rPr lang="en-US" sz="900" dirty="0"/>
              <a:t>Where does this information come from when the sync-error is send by the hub? The token used by the application to register with the hub?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1AABFE2-F650-4356-8DE4-59DD61A6FE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0800" y="935935"/>
            <a:ext cx="4656977" cy="3645420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87F58D6-35AC-435F-965B-824776C1A8D9}"/>
              </a:ext>
            </a:extLst>
          </p:cNvPr>
          <p:cNvSpPr/>
          <p:nvPr/>
        </p:nvSpPr>
        <p:spPr>
          <a:xfrm>
            <a:off x="5486400" y="3890270"/>
            <a:ext cx="3081218" cy="1124290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>
            <a:normAutofit fontScale="85000" lnSpcReduction="20000"/>
          </a:bodyPr>
          <a:lstStyle/>
          <a:p>
            <a:endParaRPr lang="en-US" b="1" dirty="0"/>
          </a:p>
          <a:p>
            <a:r>
              <a:rPr lang="en-US" b="1" dirty="0"/>
              <a:t>Recommendation: </a:t>
            </a:r>
          </a:p>
          <a:p>
            <a:pPr marL="285750" indent="-285750">
              <a:buFontTx/>
              <a:buChar char="-"/>
            </a:pPr>
            <a:r>
              <a:rPr lang="en-US" dirty="0"/>
              <a:t>Add human readable description of the application to subscribe.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endParaRPr lang="en-US" dirty="0"/>
          </a:p>
        </p:txBody>
      </p:sp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6A041E79-7691-4C93-868F-77ADDDDBA49A}"/>
              </a:ext>
            </a:extLst>
          </p:cNvPr>
          <p:cNvSpPr/>
          <p:nvPr/>
        </p:nvSpPr>
        <p:spPr>
          <a:xfrm>
            <a:off x="5220711" y="1397447"/>
            <a:ext cx="1828800" cy="693081"/>
          </a:xfrm>
          <a:prstGeom prst="wedgeRectCallout">
            <a:avLst>
              <a:gd name="adj1" fmla="val -100363"/>
              <a:gd name="adj2" fmla="val 63385"/>
            </a:avLst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85000" lnSpcReduction="20000"/>
          </a:bodyPr>
          <a:lstStyle/>
          <a:p>
            <a:pPr algn="ctr"/>
            <a:r>
              <a:rPr lang="en-US" dirty="0"/>
              <a:t>should be error according to the definition in FHIR</a:t>
            </a:r>
          </a:p>
        </p:txBody>
      </p:sp>
    </p:spTree>
    <p:extLst>
      <p:ext uri="{BB962C8B-B14F-4D97-AF65-F5344CB8AC3E}">
        <p14:creationId xmlns:p14="http://schemas.microsoft.com/office/powerpoint/2010/main" val="1085955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5B0235-A4C2-483F-B8A3-4B8A701AD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ow to recover from a sync-error state</a:t>
            </a:r>
            <a:br>
              <a:rPr lang="en-US" b="1" dirty="0"/>
            </a:b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082278-DE6F-4DCD-B591-0489849CBC1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BF99FB-BC1A-4885-AB7F-A8E298D6C8F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C0C054-FBE6-45BE-A651-0B5564FF16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5BF4FD-2B63-4E68-8627-9EF919F578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pp A  -&gt; send context change event</a:t>
            </a:r>
          </a:p>
          <a:p>
            <a:pPr marL="0" indent="0">
              <a:buNone/>
            </a:pPr>
            <a:r>
              <a:rPr lang="en-US" dirty="0"/>
              <a:t>App B -&gt; follows</a:t>
            </a:r>
          </a:p>
          <a:p>
            <a:pPr marL="0" indent="0">
              <a:buNone/>
            </a:pPr>
            <a:r>
              <a:rPr lang="en-US" dirty="0"/>
              <a:t>App C -&gt; refuse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App A after some time (e.g. 30 seconds?), decides to re-sync, and sends context-change again.</a:t>
            </a:r>
          </a:p>
          <a:p>
            <a:pPr marL="0" indent="0">
              <a:buNone/>
            </a:pPr>
            <a:r>
              <a:rPr lang="en-US" dirty="0"/>
              <a:t>If App C follows – no sync error is send -&gt; in sync error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is event has to be send by App A as:</a:t>
            </a:r>
          </a:p>
          <a:p>
            <a:r>
              <a:rPr lang="en-US" dirty="0"/>
              <a:t>other applications may not have the authorization to do so.</a:t>
            </a:r>
          </a:p>
          <a:p>
            <a:r>
              <a:rPr lang="en-US" dirty="0"/>
              <a:t>if send by the hub, there is no source event to point to (unless the original is resend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We want a lean hub - make this an App responsibilit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This should be stated in the spec.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437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3.43900000000000005684E+00&quot;&gt;&lt;m_msothmcolidx val=&quot;0&quot;/&gt;&lt;m_rgb r=&quot;A3&quot; g=&quot;D9&quot; b=&quot;D9&quot;/&gt;&lt;m_nBrightness val=&quot;0&quot;/&gt;&lt;/elem&gt;&lt;elem m_fUsage=&quot;1.41682643648100059508E+00&quot;&gt;&lt;m_msothmcolidx val=&quot;0&quot;/&gt;&lt;m_rgb r=&quot;9E&quot; g=&quot;2D&quot; b=&quot;B1&quot;/&gt;&lt;m_nBrightness val=&quot;0&quot;/&gt;&lt;/elem&gt;&lt;elem m_fUsage=&quot;1.20667841354961047351E+00&quot;&gt;&lt;m_msothmcolidx val=&quot;0&quot;/&gt;&lt;m_rgb r=&quot;EC&quot; g=&quot;43&quot; b=&quot;71&quot;/&gt;&lt;m_nBrightness val=&quot;0&quot;/&gt;&lt;/elem&gt;&lt;elem m_fUsage=&quot;8.80119440100000316463E-01&quot;&gt;&lt;m_msothmcolidx val=&quot;0&quot;/&gt;&lt;m_rgb r=&quot;00&quot; g=&quot;8E&quot; b=&quot;CC&quot;/&gt;&lt;m_nBrightness val=&quot;0&quot;/&gt;&lt;/elem&gt;&lt;elem m_fUsage=&quot;6.84653792832900287557E-01&quot;&gt;&lt;m_msothmcolidx val=&quot;0&quot;/&gt;&lt;m_rgb r=&quot;9E&quot; g=&quot;2D&quot; b=&quot;11&quot;/&gt;&lt;m_nBrightness val=&quot;0&quot;/&gt;&lt;/elem&gt;&lt;elem m_fUsage=&quot;3.13810596090000171188E-01&quot;&gt;&lt;m_msothmcolidx val=&quot;0&quot;/&gt;&lt;m_rgb r=&quot;09&quot; g=&quot;A3&quot; b=&quot;FF&quot;/&gt;&lt;m_nBrightness val=&quot;0&quot;/&gt;&lt;/elem&gt;&lt;elem m_fUsage=&quot;2.05891132094649098594E-01&quot;&gt;&lt;m_msothmcolidx val=&quot;0&quot;/&gt;&lt;m_rgb r=&quot;D3&quot; g=&quot;E8&quot; b=&quot;ED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q1yE6hRTGv_ga4GbII8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.LJhckSGCxmH17d0fWV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3EePDZRDCiGs6qA7F.i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batYagSyKSJhzbVoC0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4VFSuEQQups0ulDuF19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0pDCr0Q2Wp2L0wENceh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c97NhnRtGIQipb0wENx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 template Jan21">
  <a:themeElements>
    <a:clrScheme name="Custom 83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7CC"/>
      </a:accent1>
      <a:accent2>
        <a:srgbClr val="269A91"/>
      </a:accent2>
      <a:accent3>
        <a:srgbClr val="16973A"/>
      </a:accent3>
      <a:accent4>
        <a:srgbClr val="DE7C00"/>
      </a:accent4>
      <a:accent5>
        <a:srgbClr val="D10077"/>
      </a:accent5>
      <a:accent6>
        <a:srgbClr val="8345BA"/>
      </a:accent6>
      <a:hlink>
        <a:srgbClr val="00619F"/>
      </a:hlink>
      <a:folHlink>
        <a:srgbClr val="00629F"/>
      </a:folHlink>
    </a:clrScheme>
    <a:fontScheme name="Custom 12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9C4"/>
        </a:solidFill>
        <a:ln w="25400" cap="flat" cmpd="sng" algn="ctr">
          <a:solidFill>
            <a:srgbClr val="0089C4"/>
          </a:solidFill>
          <a:prstDash val="solid"/>
        </a:ln>
        <a:effectLst/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_template_jan21" id="{71BF8A8F-69FF-BC43-A381-4E32B2D530A8}" vid="{22D15F1E-C59B-2948-9432-3F6DDC7A102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e40374fb-a6cc-4854-989f-c1d94a7967ee" ContentTypeId="0x01" PreviousValue="false"/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86238E3A8F571418B3AB9599582F244" ma:contentTypeVersion="12" ma:contentTypeDescription="Create a new document." ma:contentTypeScope="" ma:versionID="ec7919bc117dfd3839c043c89b9d3425">
  <xsd:schema xmlns:xsd="http://www.w3.org/2001/XMLSchema" xmlns:xs="http://www.w3.org/2001/XMLSchema" xmlns:p="http://schemas.microsoft.com/office/2006/metadata/properties" xmlns:ns2="3455e28d-8ed4-43b6-b7bd-823957b9ba56" xmlns:ns3="0368f0ae-8bcb-479d-8e76-dabeaa1b11e7" targetNamespace="http://schemas.microsoft.com/office/2006/metadata/properties" ma:root="true" ma:fieldsID="b47311c3fa5ef3f809bcf559c72c67e0" ns2:_="" ns3:_="">
    <xsd:import namespace="3455e28d-8ed4-43b6-b7bd-823957b9ba56"/>
    <xsd:import namespace="0368f0ae-8bcb-479d-8e76-dabeaa1b11e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55e28d-8ed4-43b6-b7bd-823957b9ba5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68f0ae-8bcb-479d-8e76-dabeaa1b11e7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E83D079-7761-4837-B6AD-F2A451A483E7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D8CE77F4-195C-4E5F-A364-E1D1576A157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4C6DCBC-A10C-4473-AF48-2D79BA76D9DB}">
  <ds:schemaRefs>
    <ds:schemaRef ds:uri="http://purl.org/dc/terms/"/>
    <ds:schemaRef ds:uri="http://schemas.microsoft.com/office/2006/documentManagement/types"/>
    <ds:schemaRef ds:uri="http://purl.org/dc/dcmitype/"/>
    <ds:schemaRef ds:uri="3455e28d-8ed4-43b6-b7bd-823957b9ba56"/>
    <ds:schemaRef ds:uri="0368f0ae-8bcb-479d-8e76-dabeaa1b11e7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AA20DF92-3213-444B-929E-8C39D991E9E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455e28d-8ed4-43b6-b7bd-823957b9ba56"/>
    <ds:schemaRef ds:uri="0368f0ae-8bcb-479d-8e76-dabeaa1b11e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_template_jan21</Template>
  <TotalTime>428</TotalTime>
  <Words>1516</Words>
  <Application>Microsoft Office PowerPoint</Application>
  <PresentationFormat>On-screen Show (16:9)</PresentationFormat>
  <Paragraphs>192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Calibri</vt:lpstr>
      <vt:lpstr>Calibri Light</vt:lpstr>
      <vt:lpstr>OpenSans</vt:lpstr>
      <vt:lpstr>Wingdings</vt:lpstr>
      <vt:lpstr>Presentation template Jan21</vt:lpstr>
      <vt:lpstr>think-cell Slide</vt:lpstr>
      <vt:lpstr>PowerPoint Presentation</vt:lpstr>
      <vt:lpstr>Normal Behavior</vt:lpstr>
      <vt:lpstr>One application is not sure</vt:lpstr>
      <vt:lpstr>One application refuses. </vt:lpstr>
      <vt:lpstr>One application is not sure and refuses</vt:lpstr>
      <vt:lpstr>An application can no longer be reached (dead or lost network)</vt:lpstr>
      <vt:lpstr>Which applications are connected</vt:lpstr>
      <vt:lpstr>sync error content</vt:lpstr>
      <vt:lpstr>How to recover from a sync-error state </vt:lpstr>
      <vt:lpstr>Questions</vt:lpstr>
      <vt:lpstr>Client websocket drops</vt:lpstr>
      <vt:lpstr>How does a session recover from a sync error? </vt:lpstr>
      <vt:lpstr>How do we interoperable identify apps? 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uvel, Bas van den</dc:creator>
  <cp:lastModifiedBy>Heuvel, Bas van den</cp:lastModifiedBy>
  <cp:revision>14</cp:revision>
  <dcterms:created xsi:type="dcterms:W3CDTF">2021-05-19T10:44:12Z</dcterms:created>
  <dcterms:modified xsi:type="dcterms:W3CDTF">2021-05-19T17:52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86238E3A8F571418B3AB9599582F244</vt:lpwstr>
  </property>
</Properties>
</file>